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6" r:id="rId5"/>
    <p:sldMasterId id="2147483705" r:id="rId6"/>
    <p:sldMasterId id="2147483741" r:id="rId7"/>
    <p:sldMasterId id="2147483777" r:id="rId8"/>
  </p:sldMasterIdLst>
  <p:notesMasterIdLst>
    <p:notesMasterId r:id="rId16"/>
  </p:notesMasterIdLst>
  <p:sldIdLst>
    <p:sldId id="2147374707" r:id="rId9"/>
    <p:sldId id="2147374701" r:id="rId10"/>
    <p:sldId id="2147374704" r:id="rId11"/>
    <p:sldId id="2147374705" r:id="rId12"/>
    <p:sldId id="2147374708" r:id="rId13"/>
    <p:sldId id="2147374706" r:id="rId14"/>
    <p:sldId id="2147374709" r:id="rId15"/>
  </p:sldIdLst>
  <p:sldSz cx="12192000" cy="6858000"/>
  <p:notesSz cx="12192000" cy="6858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B2B2B2"/>
    <a:srgbClr val="D46F0A"/>
    <a:srgbClr val="F27F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95" autoAdjust="0"/>
    <p:restoredTop sz="93907" autoAdjust="0"/>
  </p:normalViewPr>
  <p:slideViewPr>
    <p:cSldViewPr>
      <p:cViewPr varScale="1">
        <p:scale>
          <a:sx n="64" d="100"/>
          <a:sy n="64" d="100"/>
        </p:scale>
        <p:origin x="68" y="52"/>
      </p:cViewPr>
      <p:guideLst>
        <p:guide orient="horz" pos="2880"/>
        <p:guide pos="216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eau, Philemon" userId="e445a04a-769c-40b2-94ba-4f541be168c4" providerId="ADAL" clId="{FACE4AF1-70E2-4677-B589-04CABE1B6AA6}"/>
    <pc:docChg chg="custSel modSld">
      <pc:chgData name="Moreau, Philemon" userId="e445a04a-769c-40b2-94ba-4f541be168c4" providerId="ADAL" clId="{FACE4AF1-70E2-4677-B589-04CABE1B6AA6}" dt="2021-12-21T14:45:17.695" v="2" actId="27636"/>
      <pc:docMkLst>
        <pc:docMk/>
      </pc:docMkLst>
      <pc:sldChg chg="modSp">
        <pc:chgData name="Moreau, Philemon" userId="e445a04a-769c-40b2-94ba-4f541be168c4" providerId="ADAL" clId="{FACE4AF1-70E2-4677-B589-04CABE1B6AA6}" dt="2021-12-21T14:45:17.695" v="2" actId="27636"/>
        <pc:sldMkLst>
          <pc:docMk/>
          <pc:sldMk cId="182311445" sldId="2147374701"/>
        </pc:sldMkLst>
        <pc:spChg chg="mod">
          <ac:chgData name="Moreau, Philemon" userId="e445a04a-769c-40b2-94ba-4f541be168c4" providerId="ADAL" clId="{FACE4AF1-70E2-4677-B589-04CABE1B6AA6}" dt="2021-12-21T14:45:17.695" v="2" actId="27636"/>
          <ac:spMkLst>
            <pc:docMk/>
            <pc:sldMk cId="182311445" sldId="2147374701"/>
            <ac:spMk id="4" creationId="{1B73E9FD-9E18-49BA-9996-8AEC94F69A03}"/>
          </ac:spMkLst>
        </pc:spChg>
        <pc:spChg chg="mod">
          <ac:chgData name="Moreau, Philemon" userId="e445a04a-769c-40b2-94ba-4f541be168c4" providerId="ADAL" clId="{FACE4AF1-70E2-4677-B589-04CABE1B6AA6}" dt="2021-12-21T14:45:17.684" v="1" actId="27636"/>
          <ac:spMkLst>
            <pc:docMk/>
            <pc:sldMk cId="182311445" sldId="2147374701"/>
            <ac:spMk id="11" creationId="{38CC4A61-ECF5-4137-8A5C-654910086DBE}"/>
          </ac:spMkLst>
        </pc:spChg>
      </pc:sldChg>
      <pc:sldChg chg="modSp">
        <pc:chgData name="Moreau, Philemon" userId="e445a04a-769c-40b2-94ba-4f541be168c4" providerId="ADAL" clId="{FACE4AF1-70E2-4677-B589-04CABE1B6AA6}" dt="2021-12-21T14:45:17.591" v="0" actId="27636"/>
        <pc:sldMkLst>
          <pc:docMk/>
          <pc:sldMk cId="2831398237" sldId="2147374708"/>
        </pc:sldMkLst>
        <pc:spChg chg="mod">
          <ac:chgData name="Moreau, Philemon" userId="e445a04a-769c-40b2-94ba-4f541be168c4" providerId="ADAL" clId="{FACE4AF1-70E2-4677-B589-04CABE1B6AA6}" dt="2021-12-21T14:45:17.591" v="0" actId="27636"/>
          <ac:spMkLst>
            <pc:docMk/>
            <pc:sldMk cId="2831398237" sldId="2147374708"/>
            <ac:spMk id="3" creationId="{BAACF490-6647-40DD-892D-546A6DFC511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7DEE31C7-2A65-48A7-9CA2-74417BD0500F}" type="datetimeFigureOut">
              <a:rPr lang="fr-FR" smtClean="0"/>
              <a:t>21/12/2021</a:t>
            </a:fld>
            <a:endParaRPr lang="fr-FR" dirty="0"/>
          </a:p>
        </p:txBody>
      </p:sp>
      <p:sp>
        <p:nvSpPr>
          <p:cNvPr id="4" name="Espace réservé de l'image des diapositives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E417D1E0-FCB5-4EB6-8AED-BB4E24CD4ECE}" type="slidenum">
              <a:rPr lang="fr-FR" smtClean="0"/>
              <a:t>‹N°›</a:t>
            </a:fld>
            <a:endParaRPr lang="fr-FR" dirty="0"/>
          </a:p>
        </p:txBody>
      </p:sp>
    </p:spTree>
    <p:extLst>
      <p:ext uri="{BB962C8B-B14F-4D97-AF65-F5344CB8AC3E}">
        <p14:creationId xmlns:p14="http://schemas.microsoft.com/office/powerpoint/2010/main" val="38676470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3" Type="http://schemas.openxmlformats.org/officeDocument/2006/relationships/image" Target="../media/image27.jpeg"/><Relationship Id="rId7" Type="http://schemas.openxmlformats.org/officeDocument/2006/relationships/image" Target="../media/image31.jpeg"/><Relationship Id="rId12" Type="http://schemas.openxmlformats.org/officeDocument/2006/relationships/image" Target="../media/image36.jpeg"/><Relationship Id="rId2" Type="http://schemas.openxmlformats.org/officeDocument/2006/relationships/image" Target="../media/image26.jpeg"/><Relationship Id="rId1" Type="http://schemas.openxmlformats.org/officeDocument/2006/relationships/slideMaster" Target="../slideMasters/slideMaster2.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43.png"/><Relationship Id="rId5" Type="http://schemas.openxmlformats.org/officeDocument/2006/relationships/image" Target="../media/image40.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slideMaster" Target="../slideMasters/slideMaster4.xml"/><Relationship Id="rId3" Type="http://schemas.openxmlformats.org/officeDocument/2006/relationships/tags" Target="../tags/tag20.xml"/><Relationship Id="rId21" Type="http://schemas.openxmlformats.org/officeDocument/2006/relationships/oleObject" Target="../embeddings/oleObject5.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image" Target="../media/image40.emf"/><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image" Target="../media/image42.png"/><Relationship Id="rId10" Type="http://schemas.openxmlformats.org/officeDocument/2006/relationships/tags" Target="../tags/tag27.xml"/><Relationship Id="rId19" Type="http://schemas.openxmlformats.org/officeDocument/2006/relationships/oleObject" Target="../embeddings/oleObject4.bin"/><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4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BD55E6D2-C0B1-CF46-8B5C-6690A887EB68}"/>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accent2"/>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pic>
        <p:nvPicPr>
          <p:cNvPr id="19" name="Picture 18">
            <a:extLst>
              <a:ext uri="{FF2B5EF4-FFF2-40B4-BE49-F238E27FC236}">
                <a16:creationId xmlns:a16="http://schemas.microsoft.com/office/drawing/2014/main" id="{6E506E86-8C7C-0D42-BA9A-D8231E24D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712" y="595116"/>
            <a:ext cx="4220678" cy="5667768"/>
          </a:xfrm>
          <a:prstGeom prst="rect">
            <a:avLst/>
          </a:prstGeom>
        </p:spPr>
      </p:pic>
      <p:sp>
        <p:nvSpPr>
          <p:cNvPr id="27" name="Text Placeholder 5">
            <a:extLst>
              <a:ext uri="{FF2B5EF4-FFF2-40B4-BE49-F238E27FC236}">
                <a16:creationId xmlns:a16="http://schemas.microsoft.com/office/drawing/2014/main" id="{E6A41CD3-3AF3-D74B-A1A6-8080A40DA33B}"/>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bg1"/>
                </a:solidFill>
              </a:defRPr>
            </a:lvl1pPr>
          </a:lstStyle>
          <a:p>
            <a:pPr lvl="0"/>
            <a:r>
              <a:rPr lang="en-US"/>
              <a:t>SUBHEADER</a:t>
            </a:r>
          </a:p>
        </p:txBody>
      </p:sp>
      <p:sp>
        <p:nvSpPr>
          <p:cNvPr id="28" name="Text Placeholder 5">
            <a:extLst>
              <a:ext uri="{FF2B5EF4-FFF2-40B4-BE49-F238E27FC236}">
                <a16:creationId xmlns:a16="http://schemas.microsoft.com/office/drawing/2014/main" id="{40905D1C-0BB7-1F41-A681-4572A094C58A}"/>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bg1"/>
                </a:solidFill>
              </a:defRPr>
            </a:lvl1pPr>
          </a:lstStyle>
          <a:p>
            <a:pPr lvl="0"/>
            <a:r>
              <a:rPr lang="en-US"/>
              <a:t>DIVIDER HEADLINE</a:t>
            </a:r>
          </a:p>
        </p:txBody>
      </p:sp>
      <p:sp>
        <p:nvSpPr>
          <p:cNvPr id="30" name="Slide Number Placeholder 8">
            <a:extLst>
              <a:ext uri="{FF2B5EF4-FFF2-40B4-BE49-F238E27FC236}">
                <a16:creationId xmlns:a16="http://schemas.microsoft.com/office/drawing/2014/main" id="{B2FE52D4-33F4-0B4F-9490-15C9F5E2FE19}"/>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81428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0D3B914B-7B29-D846-8212-73619B630DC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accent5"/>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tx2"/>
                </a:solidFill>
              </a:defRPr>
            </a:lvl1pPr>
          </a:lstStyle>
          <a:p>
            <a:pPr lvl="0"/>
            <a:r>
              <a:rPr lang="en-US"/>
              <a:t>SUBHEADER</a:t>
            </a:r>
          </a:p>
        </p:txBody>
      </p:sp>
      <p:pic>
        <p:nvPicPr>
          <p:cNvPr id="14" name="Picture 13">
            <a:extLst>
              <a:ext uri="{FF2B5EF4-FFF2-40B4-BE49-F238E27FC236}">
                <a16:creationId xmlns:a16="http://schemas.microsoft.com/office/drawing/2014/main" id="{5D2344C2-388E-8842-989A-EDA77345DE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3856" y="595116"/>
            <a:ext cx="3630914" cy="5667768"/>
          </a:xfrm>
          <a:prstGeom prst="rect">
            <a:avLst/>
          </a:prstGeom>
        </p:spPr>
      </p:pic>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tx2"/>
                </a:solidFill>
              </a:defRPr>
            </a:lvl1pPr>
          </a:lstStyle>
          <a:p>
            <a:pPr lvl="0"/>
            <a:r>
              <a:rPr lang="en-US"/>
              <a:t>DIVIDER HEADLINE</a:t>
            </a:r>
          </a:p>
        </p:txBody>
      </p:sp>
      <p:sp>
        <p:nvSpPr>
          <p:cNvPr id="17" name="Slide Number Placeholder 8">
            <a:extLst>
              <a:ext uri="{FF2B5EF4-FFF2-40B4-BE49-F238E27FC236}">
                <a16:creationId xmlns:a16="http://schemas.microsoft.com/office/drawing/2014/main" id="{C2CAE98B-EFE6-3046-B373-85986E35C463}"/>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918690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ivider Slid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E3B7EC-670A-C648-9EDF-2995FAD78278}"/>
              </a:ext>
            </a:extLst>
          </p:cNvPr>
          <p:cNvSpPr/>
          <p:nvPr userDrawn="1"/>
        </p:nvSpPr>
        <p:spPr>
          <a:xfrm>
            <a:off x="9822873" y="0"/>
            <a:ext cx="2369127" cy="152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D9BE6EC4-EBD8-EC4A-9803-2BE12539A4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4555065"/>
            <a:ext cx="3880699" cy="2185169"/>
          </a:xfrm>
          <a:prstGeom prst="rect">
            <a:avLst/>
          </a:prstGeom>
        </p:spPr>
      </p:pic>
      <p:pic>
        <p:nvPicPr>
          <p:cNvPr id="10" name="Picture 9">
            <a:extLst>
              <a:ext uri="{FF2B5EF4-FFF2-40B4-BE49-F238E27FC236}">
                <a16:creationId xmlns:a16="http://schemas.microsoft.com/office/drawing/2014/main" id="{3E7AAA40-AEE5-0646-830F-801614ADE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2347529"/>
            <a:ext cx="3880699" cy="2185169"/>
          </a:xfrm>
          <a:prstGeom prst="rect">
            <a:avLst/>
          </a:prstGeom>
        </p:spPr>
      </p:pic>
      <p:pic>
        <p:nvPicPr>
          <p:cNvPr id="11" name="Picture 10">
            <a:extLst>
              <a:ext uri="{FF2B5EF4-FFF2-40B4-BE49-F238E27FC236}">
                <a16:creationId xmlns:a16="http://schemas.microsoft.com/office/drawing/2014/main" id="{9C3BA6B1-B1D5-E944-BCF4-46F8E17FCA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117766"/>
            <a:ext cx="3880699" cy="2185169"/>
          </a:xfrm>
          <a:prstGeom prst="rect">
            <a:avLst/>
          </a:prstGeom>
        </p:spPr>
      </p:pic>
      <p:pic>
        <p:nvPicPr>
          <p:cNvPr id="13" name="Picture 12">
            <a:extLst>
              <a:ext uri="{FF2B5EF4-FFF2-40B4-BE49-F238E27FC236}">
                <a16:creationId xmlns:a16="http://schemas.microsoft.com/office/drawing/2014/main" id="{9AD71C98-F00F-3948-878C-DA0FB0505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4555065"/>
            <a:ext cx="3880699" cy="2185169"/>
          </a:xfrm>
          <a:prstGeom prst="rect">
            <a:avLst/>
          </a:prstGeom>
        </p:spPr>
      </p:pic>
      <p:pic>
        <p:nvPicPr>
          <p:cNvPr id="16" name="Picture 15">
            <a:extLst>
              <a:ext uri="{FF2B5EF4-FFF2-40B4-BE49-F238E27FC236}">
                <a16:creationId xmlns:a16="http://schemas.microsoft.com/office/drawing/2014/main" id="{B32CA199-7C63-3B4F-9D63-069D3FCB9F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2347529"/>
            <a:ext cx="3880699" cy="2185169"/>
          </a:xfrm>
          <a:prstGeom prst="rect">
            <a:avLst/>
          </a:prstGeom>
        </p:spPr>
      </p:pic>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0" name="Picture 19">
            <a:extLst>
              <a:ext uri="{FF2B5EF4-FFF2-40B4-BE49-F238E27FC236}">
                <a16:creationId xmlns:a16="http://schemas.microsoft.com/office/drawing/2014/main" id="{186F90E4-71AD-AC43-9C3D-2A0F1EB9D5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117766"/>
            <a:ext cx="3880699" cy="2185169"/>
          </a:xfrm>
          <a:prstGeom prst="rect">
            <a:avLst/>
          </a:prstGeom>
        </p:spPr>
      </p:pic>
      <p:pic>
        <p:nvPicPr>
          <p:cNvPr id="21" name="Picture 20">
            <a:extLst>
              <a:ext uri="{FF2B5EF4-FFF2-40B4-BE49-F238E27FC236}">
                <a16:creationId xmlns:a16="http://schemas.microsoft.com/office/drawing/2014/main" id="{C748B163-1B5B-9044-BB13-4017A5D4BE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4555065"/>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3" name="Picture 22">
            <a:extLst>
              <a:ext uri="{FF2B5EF4-FFF2-40B4-BE49-F238E27FC236}">
                <a16:creationId xmlns:a16="http://schemas.microsoft.com/office/drawing/2014/main" id="{9A9E35BB-F88A-934C-AB8D-946EBF21E1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117766"/>
            <a:ext cx="3880699" cy="2185169"/>
          </a:xfrm>
          <a:prstGeom prst="rect">
            <a:avLst/>
          </a:prstGeom>
        </p:spPr>
      </p:pic>
      <p:pic>
        <p:nvPicPr>
          <p:cNvPr id="24" name="Picture 23">
            <a:extLst>
              <a:ext uri="{FF2B5EF4-FFF2-40B4-BE49-F238E27FC236}">
                <a16:creationId xmlns:a16="http://schemas.microsoft.com/office/drawing/2014/main" id="{09D8700C-4E4A-1948-9E4E-3B2FFEA91C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4555065"/>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pic>
        <p:nvPicPr>
          <p:cNvPr id="27" name="Picture 26">
            <a:extLst>
              <a:ext uri="{FF2B5EF4-FFF2-40B4-BE49-F238E27FC236}">
                <a16:creationId xmlns:a16="http://schemas.microsoft.com/office/drawing/2014/main" id="{FEE87074-A55C-374D-9533-B5F6EC8E6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117766"/>
            <a:ext cx="3880699" cy="2185169"/>
          </a:xfrm>
          <a:prstGeom prst="rect">
            <a:avLst/>
          </a:prstGeom>
        </p:spPr>
      </p:pic>
      <p:pic>
        <p:nvPicPr>
          <p:cNvPr id="26" name="Picture 25">
            <a:extLst>
              <a:ext uri="{FF2B5EF4-FFF2-40B4-BE49-F238E27FC236}">
                <a16:creationId xmlns:a16="http://schemas.microsoft.com/office/drawing/2014/main" id="{8B2E7441-3F58-4749-9975-670846C14E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117766"/>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621783" y="631611"/>
            <a:ext cx="6948434" cy="5594779"/>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3"/>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3"/>
                </a:solidFill>
              </a:defRPr>
            </a:lvl1pPr>
          </a:lstStyle>
          <a:p>
            <a:pPr lvl="0"/>
            <a:r>
              <a:rPr lang="en-US"/>
              <a:t>DIVIDER HEADLINE</a:t>
            </a:r>
          </a:p>
        </p:txBody>
      </p:sp>
      <p:pic>
        <p:nvPicPr>
          <p:cNvPr id="28" name="Picture 27">
            <a:extLst>
              <a:ext uri="{FF2B5EF4-FFF2-40B4-BE49-F238E27FC236}">
                <a16:creationId xmlns:a16="http://schemas.microsoft.com/office/drawing/2014/main" id="{94BE0F4C-9736-9648-8CE3-69FB9D9EFE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4555065"/>
            <a:ext cx="3880699" cy="2185169"/>
          </a:xfrm>
          <a:prstGeom prst="rect">
            <a:avLst/>
          </a:prstGeom>
        </p:spPr>
      </p:pic>
    </p:spTree>
    <p:extLst>
      <p:ext uri="{BB962C8B-B14F-4D97-AF65-F5344CB8AC3E}">
        <p14:creationId xmlns:p14="http://schemas.microsoft.com/office/powerpoint/2010/main" val="3565950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200" fill="hold">
                                          <p:stCondLst>
                                            <p:cond delay="0"/>
                                          </p:stCondLst>
                                        </p:cTn>
                                        <p:tgtEl>
                                          <p:spTgt spid="11"/>
                                        </p:tgtEl>
                                        <p:attrNameLst>
                                          <p:attrName>r</p:attrName>
                                        </p:attrNameLst>
                                      </p:cBhvr>
                                    </p:animRot>
                                    <p:animRot by="-240000">
                                      <p:cBhvr>
                                        <p:cTn id="7" dur="400" fill="hold">
                                          <p:stCondLst>
                                            <p:cond delay="400"/>
                                          </p:stCondLst>
                                        </p:cTn>
                                        <p:tgtEl>
                                          <p:spTgt spid="11"/>
                                        </p:tgtEl>
                                        <p:attrNameLst>
                                          <p:attrName>r</p:attrName>
                                        </p:attrNameLst>
                                      </p:cBhvr>
                                    </p:animRot>
                                    <p:animRot by="240000">
                                      <p:cBhvr>
                                        <p:cTn id="8" dur="400" fill="hold">
                                          <p:stCondLst>
                                            <p:cond delay="800"/>
                                          </p:stCondLst>
                                        </p:cTn>
                                        <p:tgtEl>
                                          <p:spTgt spid="11"/>
                                        </p:tgtEl>
                                        <p:attrNameLst>
                                          <p:attrName>r</p:attrName>
                                        </p:attrNameLst>
                                      </p:cBhvr>
                                    </p:animRot>
                                    <p:animRot by="-240000">
                                      <p:cBhvr>
                                        <p:cTn id="9" dur="400" fill="hold">
                                          <p:stCondLst>
                                            <p:cond delay="1200"/>
                                          </p:stCondLst>
                                        </p:cTn>
                                        <p:tgtEl>
                                          <p:spTgt spid="11"/>
                                        </p:tgtEl>
                                        <p:attrNameLst>
                                          <p:attrName>r</p:attrName>
                                        </p:attrNameLst>
                                      </p:cBhvr>
                                    </p:animRot>
                                    <p:animRot by="120000">
                                      <p:cBhvr>
                                        <p:cTn id="10" dur="400" fill="hold">
                                          <p:stCondLst>
                                            <p:cond delay="1600"/>
                                          </p:stCondLst>
                                        </p:cTn>
                                        <p:tgtEl>
                                          <p:spTgt spid="11"/>
                                        </p:tgtEl>
                                        <p:attrNameLst>
                                          <p:attrName>r</p:attrName>
                                        </p:attrNameLst>
                                      </p:cBhvr>
                                    </p:animRot>
                                  </p:childTnLst>
                                </p:cTn>
                              </p:par>
                            </p:childTnLst>
                          </p:cTn>
                        </p:par>
                        <p:par>
                          <p:cTn id="11" fill="hold">
                            <p:stCondLst>
                              <p:cond delay="2000"/>
                            </p:stCondLst>
                            <p:childTnLst>
                              <p:par>
                                <p:cTn id="12" presetID="32" presetClass="emph" presetSubtype="0" fill="hold" nodeType="afterEffect">
                                  <p:stCondLst>
                                    <p:cond delay="0"/>
                                  </p:stCondLst>
                                  <p:childTnLst>
                                    <p:animRot by="120000">
                                      <p:cBhvr>
                                        <p:cTn id="13" dur="200" fill="hold">
                                          <p:stCondLst>
                                            <p:cond delay="0"/>
                                          </p:stCondLst>
                                        </p:cTn>
                                        <p:tgtEl>
                                          <p:spTgt spid="13"/>
                                        </p:tgtEl>
                                        <p:attrNameLst>
                                          <p:attrName>r</p:attrName>
                                        </p:attrNameLst>
                                      </p:cBhvr>
                                    </p:animRot>
                                    <p:animRot by="-240000">
                                      <p:cBhvr>
                                        <p:cTn id="14" dur="400" fill="hold">
                                          <p:stCondLst>
                                            <p:cond delay="400"/>
                                          </p:stCondLst>
                                        </p:cTn>
                                        <p:tgtEl>
                                          <p:spTgt spid="13"/>
                                        </p:tgtEl>
                                        <p:attrNameLst>
                                          <p:attrName>r</p:attrName>
                                        </p:attrNameLst>
                                      </p:cBhvr>
                                    </p:animRot>
                                    <p:animRot by="240000">
                                      <p:cBhvr>
                                        <p:cTn id="15" dur="400" fill="hold">
                                          <p:stCondLst>
                                            <p:cond delay="800"/>
                                          </p:stCondLst>
                                        </p:cTn>
                                        <p:tgtEl>
                                          <p:spTgt spid="13"/>
                                        </p:tgtEl>
                                        <p:attrNameLst>
                                          <p:attrName>r</p:attrName>
                                        </p:attrNameLst>
                                      </p:cBhvr>
                                    </p:animRot>
                                    <p:animRot by="-240000">
                                      <p:cBhvr>
                                        <p:cTn id="16" dur="400" fill="hold">
                                          <p:stCondLst>
                                            <p:cond delay="1200"/>
                                          </p:stCondLst>
                                        </p:cTn>
                                        <p:tgtEl>
                                          <p:spTgt spid="13"/>
                                        </p:tgtEl>
                                        <p:attrNameLst>
                                          <p:attrName>r</p:attrName>
                                        </p:attrNameLst>
                                      </p:cBhvr>
                                    </p:animRot>
                                    <p:animRot by="120000">
                                      <p:cBhvr>
                                        <p:cTn id="17" dur="400" fill="hold">
                                          <p:stCondLst>
                                            <p:cond delay="1600"/>
                                          </p:stCondLst>
                                        </p:cTn>
                                        <p:tgtEl>
                                          <p:spTgt spid="13"/>
                                        </p:tgtEl>
                                        <p:attrNameLst>
                                          <p:attrName>r</p:attrName>
                                        </p:attrNameLst>
                                      </p:cBhvr>
                                    </p:animRot>
                                  </p:childTnLst>
                                </p:cTn>
                              </p:par>
                            </p:childTnLst>
                          </p:cTn>
                        </p:par>
                        <p:par>
                          <p:cTn id="18" fill="hold">
                            <p:stCondLst>
                              <p:cond delay="4000"/>
                            </p:stCondLst>
                            <p:childTnLst>
                              <p:par>
                                <p:cTn id="19" presetID="32" presetClass="emph" presetSubtype="0" fill="hold" nodeType="afterEffect">
                                  <p:stCondLst>
                                    <p:cond delay="0"/>
                                  </p:stCondLst>
                                  <p:childTnLst>
                                    <p:animRot by="120000">
                                      <p:cBhvr>
                                        <p:cTn id="20" dur="200" fill="hold">
                                          <p:stCondLst>
                                            <p:cond delay="0"/>
                                          </p:stCondLst>
                                        </p:cTn>
                                        <p:tgtEl>
                                          <p:spTgt spid="20"/>
                                        </p:tgtEl>
                                        <p:attrNameLst>
                                          <p:attrName>r</p:attrName>
                                        </p:attrNameLst>
                                      </p:cBhvr>
                                    </p:animRot>
                                    <p:animRot by="-240000">
                                      <p:cBhvr>
                                        <p:cTn id="21" dur="400" fill="hold">
                                          <p:stCondLst>
                                            <p:cond delay="400"/>
                                          </p:stCondLst>
                                        </p:cTn>
                                        <p:tgtEl>
                                          <p:spTgt spid="20"/>
                                        </p:tgtEl>
                                        <p:attrNameLst>
                                          <p:attrName>r</p:attrName>
                                        </p:attrNameLst>
                                      </p:cBhvr>
                                    </p:animRot>
                                    <p:animRot by="240000">
                                      <p:cBhvr>
                                        <p:cTn id="22" dur="400" fill="hold">
                                          <p:stCondLst>
                                            <p:cond delay="800"/>
                                          </p:stCondLst>
                                        </p:cTn>
                                        <p:tgtEl>
                                          <p:spTgt spid="20"/>
                                        </p:tgtEl>
                                        <p:attrNameLst>
                                          <p:attrName>r</p:attrName>
                                        </p:attrNameLst>
                                      </p:cBhvr>
                                    </p:animRot>
                                    <p:animRot by="-240000">
                                      <p:cBhvr>
                                        <p:cTn id="23" dur="400" fill="hold">
                                          <p:stCondLst>
                                            <p:cond delay="1200"/>
                                          </p:stCondLst>
                                        </p:cTn>
                                        <p:tgtEl>
                                          <p:spTgt spid="20"/>
                                        </p:tgtEl>
                                        <p:attrNameLst>
                                          <p:attrName>r</p:attrName>
                                        </p:attrNameLst>
                                      </p:cBhvr>
                                    </p:animRot>
                                    <p:animRot by="120000">
                                      <p:cBhvr>
                                        <p:cTn id="24" dur="400" fill="hold">
                                          <p:stCondLst>
                                            <p:cond delay="1600"/>
                                          </p:stCondLst>
                                        </p:cTn>
                                        <p:tgtEl>
                                          <p:spTgt spid="20"/>
                                        </p:tgtEl>
                                        <p:attrNameLst>
                                          <p:attrName>r</p:attrName>
                                        </p:attrNameLst>
                                      </p:cBhvr>
                                    </p:animRot>
                                  </p:childTnLst>
                                </p:cTn>
                              </p:par>
                            </p:childTnLst>
                          </p:cTn>
                        </p:par>
                        <p:par>
                          <p:cTn id="25" fill="hold">
                            <p:stCondLst>
                              <p:cond delay="6000"/>
                            </p:stCondLst>
                            <p:childTnLst>
                              <p:par>
                                <p:cTn id="26" presetID="32" presetClass="emph" presetSubtype="0" fill="hold" nodeType="afterEffect">
                                  <p:stCondLst>
                                    <p:cond delay="0"/>
                                  </p:stCondLst>
                                  <p:childTnLst>
                                    <p:animRot by="120000">
                                      <p:cBhvr>
                                        <p:cTn id="27" dur="200" fill="hold">
                                          <p:stCondLst>
                                            <p:cond delay="0"/>
                                          </p:stCondLst>
                                        </p:cTn>
                                        <p:tgtEl>
                                          <p:spTgt spid="10"/>
                                        </p:tgtEl>
                                        <p:attrNameLst>
                                          <p:attrName>r</p:attrName>
                                        </p:attrNameLst>
                                      </p:cBhvr>
                                    </p:animRot>
                                    <p:animRot by="-240000">
                                      <p:cBhvr>
                                        <p:cTn id="28" dur="400" fill="hold">
                                          <p:stCondLst>
                                            <p:cond delay="400"/>
                                          </p:stCondLst>
                                        </p:cTn>
                                        <p:tgtEl>
                                          <p:spTgt spid="10"/>
                                        </p:tgtEl>
                                        <p:attrNameLst>
                                          <p:attrName>r</p:attrName>
                                        </p:attrNameLst>
                                      </p:cBhvr>
                                    </p:animRot>
                                    <p:animRot by="240000">
                                      <p:cBhvr>
                                        <p:cTn id="29" dur="400" fill="hold">
                                          <p:stCondLst>
                                            <p:cond delay="800"/>
                                          </p:stCondLst>
                                        </p:cTn>
                                        <p:tgtEl>
                                          <p:spTgt spid="10"/>
                                        </p:tgtEl>
                                        <p:attrNameLst>
                                          <p:attrName>r</p:attrName>
                                        </p:attrNameLst>
                                      </p:cBhvr>
                                    </p:animRot>
                                    <p:animRot by="-240000">
                                      <p:cBhvr>
                                        <p:cTn id="30" dur="400" fill="hold">
                                          <p:stCondLst>
                                            <p:cond delay="1200"/>
                                          </p:stCondLst>
                                        </p:cTn>
                                        <p:tgtEl>
                                          <p:spTgt spid="10"/>
                                        </p:tgtEl>
                                        <p:attrNameLst>
                                          <p:attrName>r</p:attrName>
                                        </p:attrNameLst>
                                      </p:cBhvr>
                                    </p:animRot>
                                    <p:animRot by="120000">
                                      <p:cBhvr>
                                        <p:cTn id="31" dur="400" fill="hold">
                                          <p:stCondLst>
                                            <p:cond delay="1600"/>
                                          </p:stCondLst>
                                        </p:cTn>
                                        <p:tgtEl>
                                          <p:spTgt spid="10"/>
                                        </p:tgtEl>
                                        <p:attrNameLst>
                                          <p:attrName>r</p:attrName>
                                        </p:attrNameLst>
                                      </p:cBhvr>
                                    </p:animRot>
                                  </p:childTnLst>
                                </p:cTn>
                              </p:par>
                            </p:childTnLst>
                          </p:cTn>
                        </p:par>
                        <p:par>
                          <p:cTn id="32" fill="hold">
                            <p:stCondLst>
                              <p:cond delay="8000"/>
                            </p:stCondLst>
                            <p:childTnLst>
                              <p:par>
                                <p:cTn id="33" presetID="32" presetClass="emph" presetSubtype="0" fill="hold" nodeType="afterEffect">
                                  <p:stCondLst>
                                    <p:cond delay="0"/>
                                  </p:stCondLst>
                                  <p:childTnLst>
                                    <p:animRot by="120000">
                                      <p:cBhvr>
                                        <p:cTn id="34" dur="200" fill="hold">
                                          <p:stCondLst>
                                            <p:cond delay="0"/>
                                          </p:stCondLst>
                                        </p:cTn>
                                        <p:tgtEl>
                                          <p:spTgt spid="24"/>
                                        </p:tgtEl>
                                        <p:attrNameLst>
                                          <p:attrName>r</p:attrName>
                                        </p:attrNameLst>
                                      </p:cBhvr>
                                    </p:animRot>
                                    <p:animRot by="-240000">
                                      <p:cBhvr>
                                        <p:cTn id="35" dur="400" fill="hold">
                                          <p:stCondLst>
                                            <p:cond delay="400"/>
                                          </p:stCondLst>
                                        </p:cTn>
                                        <p:tgtEl>
                                          <p:spTgt spid="24"/>
                                        </p:tgtEl>
                                        <p:attrNameLst>
                                          <p:attrName>r</p:attrName>
                                        </p:attrNameLst>
                                      </p:cBhvr>
                                    </p:animRot>
                                    <p:animRot by="240000">
                                      <p:cBhvr>
                                        <p:cTn id="36" dur="400" fill="hold">
                                          <p:stCondLst>
                                            <p:cond delay="800"/>
                                          </p:stCondLst>
                                        </p:cTn>
                                        <p:tgtEl>
                                          <p:spTgt spid="24"/>
                                        </p:tgtEl>
                                        <p:attrNameLst>
                                          <p:attrName>r</p:attrName>
                                        </p:attrNameLst>
                                      </p:cBhvr>
                                    </p:animRot>
                                    <p:animRot by="-240000">
                                      <p:cBhvr>
                                        <p:cTn id="37" dur="400" fill="hold">
                                          <p:stCondLst>
                                            <p:cond delay="1200"/>
                                          </p:stCondLst>
                                        </p:cTn>
                                        <p:tgtEl>
                                          <p:spTgt spid="24"/>
                                        </p:tgtEl>
                                        <p:attrNameLst>
                                          <p:attrName>r</p:attrName>
                                        </p:attrNameLst>
                                      </p:cBhvr>
                                    </p:animRot>
                                    <p:animRot by="120000">
                                      <p:cBhvr>
                                        <p:cTn id="38" dur="400" fill="hold">
                                          <p:stCondLst>
                                            <p:cond delay="1600"/>
                                          </p:stCondLst>
                                        </p:cTn>
                                        <p:tgtEl>
                                          <p:spTgt spid="24"/>
                                        </p:tgtEl>
                                        <p:attrNameLst>
                                          <p:attrName>r</p:attrName>
                                        </p:attrNameLst>
                                      </p:cBhvr>
                                    </p:animRot>
                                  </p:childTnLst>
                                </p:cTn>
                              </p:par>
                            </p:childTnLst>
                          </p:cTn>
                        </p:par>
                        <p:par>
                          <p:cTn id="39" fill="hold">
                            <p:stCondLst>
                              <p:cond delay="10000"/>
                            </p:stCondLst>
                            <p:childTnLst>
                              <p:par>
                                <p:cTn id="40" presetID="32" presetClass="emph" presetSubtype="0" fill="hold" nodeType="afterEffect">
                                  <p:stCondLst>
                                    <p:cond delay="0"/>
                                  </p:stCondLst>
                                  <p:childTnLst>
                                    <p:animRot by="120000">
                                      <p:cBhvr>
                                        <p:cTn id="41" dur="200" fill="hold">
                                          <p:stCondLst>
                                            <p:cond delay="0"/>
                                          </p:stCondLst>
                                        </p:cTn>
                                        <p:tgtEl>
                                          <p:spTgt spid="27"/>
                                        </p:tgtEl>
                                        <p:attrNameLst>
                                          <p:attrName>r</p:attrName>
                                        </p:attrNameLst>
                                      </p:cBhvr>
                                    </p:animRot>
                                    <p:animRot by="-240000">
                                      <p:cBhvr>
                                        <p:cTn id="42" dur="400" fill="hold">
                                          <p:stCondLst>
                                            <p:cond delay="400"/>
                                          </p:stCondLst>
                                        </p:cTn>
                                        <p:tgtEl>
                                          <p:spTgt spid="27"/>
                                        </p:tgtEl>
                                        <p:attrNameLst>
                                          <p:attrName>r</p:attrName>
                                        </p:attrNameLst>
                                      </p:cBhvr>
                                    </p:animRot>
                                    <p:animRot by="240000">
                                      <p:cBhvr>
                                        <p:cTn id="43" dur="400" fill="hold">
                                          <p:stCondLst>
                                            <p:cond delay="800"/>
                                          </p:stCondLst>
                                        </p:cTn>
                                        <p:tgtEl>
                                          <p:spTgt spid="27"/>
                                        </p:tgtEl>
                                        <p:attrNameLst>
                                          <p:attrName>r</p:attrName>
                                        </p:attrNameLst>
                                      </p:cBhvr>
                                    </p:animRot>
                                    <p:animRot by="-240000">
                                      <p:cBhvr>
                                        <p:cTn id="44" dur="400" fill="hold">
                                          <p:stCondLst>
                                            <p:cond delay="1200"/>
                                          </p:stCondLst>
                                        </p:cTn>
                                        <p:tgtEl>
                                          <p:spTgt spid="27"/>
                                        </p:tgtEl>
                                        <p:attrNameLst>
                                          <p:attrName>r</p:attrName>
                                        </p:attrNameLst>
                                      </p:cBhvr>
                                    </p:animRot>
                                    <p:animRot by="120000">
                                      <p:cBhvr>
                                        <p:cTn id="45" dur="400" fill="hold">
                                          <p:stCondLst>
                                            <p:cond delay="1600"/>
                                          </p:stCondLst>
                                        </p:cTn>
                                        <p:tgtEl>
                                          <p:spTgt spid="27"/>
                                        </p:tgtEl>
                                        <p:attrNameLst>
                                          <p:attrName>r</p:attrName>
                                        </p:attrNameLst>
                                      </p:cBhvr>
                                    </p:animRot>
                                  </p:childTnLst>
                                </p:cTn>
                              </p:par>
                            </p:childTnLst>
                          </p:cTn>
                        </p:par>
                        <p:par>
                          <p:cTn id="46" fill="hold">
                            <p:stCondLst>
                              <p:cond delay="12000"/>
                            </p:stCondLst>
                            <p:childTnLst>
                              <p:par>
                                <p:cTn id="47" presetID="32" presetClass="emph" presetSubtype="0" fill="hold" nodeType="afterEffect">
                                  <p:stCondLst>
                                    <p:cond delay="0"/>
                                  </p:stCondLst>
                                  <p:childTnLst>
                                    <p:animRot by="120000">
                                      <p:cBhvr>
                                        <p:cTn id="48" dur="200" fill="hold">
                                          <p:stCondLst>
                                            <p:cond delay="0"/>
                                          </p:stCondLst>
                                        </p:cTn>
                                        <p:tgtEl>
                                          <p:spTgt spid="9"/>
                                        </p:tgtEl>
                                        <p:attrNameLst>
                                          <p:attrName>r</p:attrName>
                                        </p:attrNameLst>
                                      </p:cBhvr>
                                    </p:animRot>
                                    <p:animRot by="-240000">
                                      <p:cBhvr>
                                        <p:cTn id="49" dur="400" fill="hold">
                                          <p:stCondLst>
                                            <p:cond delay="400"/>
                                          </p:stCondLst>
                                        </p:cTn>
                                        <p:tgtEl>
                                          <p:spTgt spid="9"/>
                                        </p:tgtEl>
                                        <p:attrNameLst>
                                          <p:attrName>r</p:attrName>
                                        </p:attrNameLst>
                                      </p:cBhvr>
                                    </p:animRot>
                                    <p:animRot by="240000">
                                      <p:cBhvr>
                                        <p:cTn id="50" dur="400" fill="hold">
                                          <p:stCondLst>
                                            <p:cond delay="800"/>
                                          </p:stCondLst>
                                        </p:cTn>
                                        <p:tgtEl>
                                          <p:spTgt spid="9"/>
                                        </p:tgtEl>
                                        <p:attrNameLst>
                                          <p:attrName>r</p:attrName>
                                        </p:attrNameLst>
                                      </p:cBhvr>
                                    </p:animRot>
                                    <p:animRot by="-240000">
                                      <p:cBhvr>
                                        <p:cTn id="51" dur="400" fill="hold">
                                          <p:stCondLst>
                                            <p:cond delay="1200"/>
                                          </p:stCondLst>
                                        </p:cTn>
                                        <p:tgtEl>
                                          <p:spTgt spid="9"/>
                                        </p:tgtEl>
                                        <p:attrNameLst>
                                          <p:attrName>r</p:attrName>
                                        </p:attrNameLst>
                                      </p:cBhvr>
                                    </p:animRot>
                                    <p:animRot by="120000">
                                      <p:cBhvr>
                                        <p:cTn id="52" dur="400" fill="hold">
                                          <p:stCondLst>
                                            <p:cond delay="1600"/>
                                          </p:stCondLst>
                                        </p:cTn>
                                        <p:tgtEl>
                                          <p:spTgt spid="9"/>
                                        </p:tgtEl>
                                        <p:attrNameLst>
                                          <p:attrName>r</p:attrName>
                                        </p:attrNameLst>
                                      </p:cBhvr>
                                    </p:animRot>
                                  </p:childTnLst>
                                </p:cTn>
                              </p:par>
                            </p:childTnLst>
                          </p:cTn>
                        </p:par>
                        <p:par>
                          <p:cTn id="53" fill="hold">
                            <p:stCondLst>
                              <p:cond delay="14000"/>
                            </p:stCondLst>
                            <p:childTnLst>
                              <p:par>
                                <p:cTn id="54" presetID="32" presetClass="emph" presetSubtype="0" fill="hold" nodeType="afterEffect">
                                  <p:stCondLst>
                                    <p:cond delay="0"/>
                                  </p:stCondLst>
                                  <p:childTnLst>
                                    <p:animRot by="120000">
                                      <p:cBhvr>
                                        <p:cTn id="55" dur="200" fill="hold">
                                          <p:stCondLst>
                                            <p:cond delay="0"/>
                                          </p:stCondLst>
                                        </p:cTn>
                                        <p:tgtEl>
                                          <p:spTgt spid="28"/>
                                        </p:tgtEl>
                                        <p:attrNameLst>
                                          <p:attrName>r</p:attrName>
                                        </p:attrNameLst>
                                      </p:cBhvr>
                                    </p:animRot>
                                    <p:animRot by="-240000">
                                      <p:cBhvr>
                                        <p:cTn id="56" dur="400" fill="hold">
                                          <p:stCondLst>
                                            <p:cond delay="400"/>
                                          </p:stCondLst>
                                        </p:cTn>
                                        <p:tgtEl>
                                          <p:spTgt spid="28"/>
                                        </p:tgtEl>
                                        <p:attrNameLst>
                                          <p:attrName>r</p:attrName>
                                        </p:attrNameLst>
                                      </p:cBhvr>
                                    </p:animRot>
                                    <p:animRot by="240000">
                                      <p:cBhvr>
                                        <p:cTn id="57" dur="400" fill="hold">
                                          <p:stCondLst>
                                            <p:cond delay="800"/>
                                          </p:stCondLst>
                                        </p:cTn>
                                        <p:tgtEl>
                                          <p:spTgt spid="28"/>
                                        </p:tgtEl>
                                        <p:attrNameLst>
                                          <p:attrName>r</p:attrName>
                                        </p:attrNameLst>
                                      </p:cBhvr>
                                    </p:animRot>
                                    <p:animRot by="-240000">
                                      <p:cBhvr>
                                        <p:cTn id="58" dur="400" fill="hold">
                                          <p:stCondLst>
                                            <p:cond delay="1200"/>
                                          </p:stCondLst>
                                        </p:cTn>
                                        <p:tgtEl>
                                          <p:spTgt spid="28"/>
                                        </p:tgtEl>
                                        <p:attrNameLst>
                                          <p:attrName>r</p:attrName>
                                        </p:attrNameLst>
                                      </p:cBhvr>
                                    </p:animRot>
                                    <p:animRot by="120000">
                                      <p:cBhvr>
                                        <p:cTn id="59" dur="400" fill="hold">
                                          <p:stCondLst>
                                            <p:cond delay="1600"/>
                                          </p:stCondLst>
                                        </p:cTn>
                                        <p:tgtEl>
                                          <p:spTgt spid="2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ivider Slide">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0FF3A38-D430-694E-8F73-F74154505EB8}"/>
              </a:ext>
            </a:extLst>
          </p:cNvPr>
          <p:cNvSpPr/>
          <p:nvPr userDrawn="1"/>
        </p:nvSpPr>
        <p:spPr>
          <a:xfrm>
            <a:off x="9822873" y="0"/>
            <a:ext cx="2369127" cy="1523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bg1">
                <a:lumMod val="90000"/>
                <a:lumOff val="1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1"/>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1"/>
                </a:solidFill>
              </a:defRPr>
            </a:lvl1pPr>
          </a:lstStyle>
          <a:p>
            <a:pPr lvl="0"/>
            <a:r>
              <a:rPr lang="en-US"/>
              <a:t>DIVIDER HEADLINE</a:t>
            </a:r>
          </a:p>
        </p:txBody>
      </p:sp>
      <p:pic>
        <p:nvPicPr>
          <p:cNvPr id="30" name="Picture 29">
            <a:extLst>
              <a:ext uri="{FF2B5EF4-FFF2-40B4-BE49-F238E27FC236}">
                <a16:creationId xmlns:a16="http://schemas.microsoft.com/office/drawing/2014/main" id="{19159B10-E009-754C-913E-8FC8EA962E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3053556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Divider Slide">
    <p:bg>
      <p:bgPr>
        <a:solidFill>
          <a:schemeClr val="accent4"/>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E1855FE-2C3E-FE4C-AD62-2C05043ED757}"/>
              </a:ext>
            </a:extLst>
          </p:cNvPr>
          <p:cNvSpPr/>
          <p:nvPr userDrawn="1"/>
        </p:nvSpPr>
        <p:spPr>
          <a:xfrm>
            <a:off x="9822873" y="0"/>
            <a:ext cx="2369127" cy="1523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accent4">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tx1"/>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tx1"/>
                </a:solidFill>
              </a:defRPr>
            </a:lvl1pPr>
          </a:lstStyle>
          <a:p>
            <a:pPr lvl="0"/>
            <a:r>
              <a:rPr lang="en-US"/>
              <a:t>DIVIDER HEADLINE</a:t>
            </a:r>
          </a:p>
        </p:txBody>
      </p:sp>
      <p:pic>
        <p:nvPicPr>
          <p:cNvPr id="11" name="Picture 10">
            <a:extLst>
              <a:ext uri="{FF2B5EF4-FFF2-40B4-BE49-F238E27FC236}">
                <a16:creationId xmlns:a16="http://schemas.microsoft.com/office/drawing/2014/main" id="{43F7F3DD-E513-0F44-AF08-5354F0E328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3334199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Divider Slide">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D304DF-D40F-B845-AC0A-45CD82390529}"/>
              </a:ext>
            </a:extLst>
          </p:cNvPr>
          <p:cNvSpPr/>
          <p:nvPr userDrawn="1"/>
        </p:nvSpPr>
        <p:spPr>
          <a:xfrm>
            <a:off x="9822873" y="0"/>
            <a:ext cx="2369127" cy="15237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accent5">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4"/>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4"/>
                </a:solidFill>
              </a:defRPr>
            </a:lvl1pPr>
          </a:lstStyle>
          <a:p>
            <a:pPr lvl="0"/>
            <a:r>
              <a:rPr lang="en-US"/>
              <a:t>DIVIDER HEADLINE</a:t>
            </a:r>
          </a:p>
        </p:txBody>
      </p:sp>
      <p:pic>
        <p:nvPicPr>
          <p:cNvPr id="8" name="Picture 7">
            <a:extLst>
              <a:ext uri="{FF2B5EF4-FFF2-40B4-BE49-F238E27FC236}">
                <a16:creationId xmlns:a16="http://schemas.microsoft.com/office/drawing/2014/main" id="{23F0BD42-F782-104C-84B5-E16E22111B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1204356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Unifying Framewor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2351C0-8318-FE4C-9FC5-9E951AC45F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34846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ur Purpose">
    <p:bg>
      <p:bgPr>
        <a:solidFill>
          <a:schemeClr val="tx2"/>
        </a:solidFill>
        <a:effectLst/>
      </p:bgPr>
    </p:bg>
    <p:spTree>
      <p:nvGrpSpPr>
        <p:cNvPr id="1" name=""/>
        <p:cNvGrpSpPr/>
        <p:nvPr/>
      </p:nvGrpSpPr>
      <p:grpSpPr>
        <a:xfrm>
          <a:off x="0" y="0"/>
          <a:ext cx="0" cy="0"/>
          <a:chOff x="0" y="0"/>
          <a:chExt cx="0" cy="0"/>
        </a:xfrm>
      </p:grpSpPr>
      <p:sp>
        <p:nvSpPr>
          <p:cNvPr id="3" name="Oval 9">
            <a:extLst>
              <a:ext uri="{FF2B5EF4-FFF2-40B4-BE49-F238E27FC236}">
                <a16:creationId xmlns:a16="http://schemas.microsoft.com/office/drawing/2014/main" id="{9E8A5C6F-D88E-CC43-B3DA-C5B18518B417}"/>
              </a:ext>
            </a:extLst>
          </p:cNvPr>
          <p:cNvSpPr/>
          <p:nvPr userDrawn="1"/>
        </p:nvSpPr>
        <p:spPr>
          <a:xfrm>
            <a:off x="2649098" y="366811"/>
            <a:ext cx="6893804" cy="6124379"/>
          </a:xfrm>
          <a:custGeom>
            <a:avLst/>
            <a:gdLst>
              <a:gd name="connsiteX0" fmla="*/ 0 w 6545465"/>
              <a:gd name="connsiteY0" fmla="*/ 3272733 h 6545465"/>
              <a:gd name="connsiteX1" fmla="*/ 3272733 w 6545465"/>
              <a:gd name="connsiteY1" fmla="*/ 0 h 6545465"/>
              <a:gd name="connsiteX2" fmla="*/ 6545466 w 6545465"/>
              <a:gd name="connsiteY2" fmla="*/ 3272733 h 6545465"/>
              <a:gd name="connsiteX3" fmla="*/ 3272733 w 6545465"/>
              <a:gd name="connsiteY3" fmla="*/ 6545466 h 6545465"/>
              <a:gd name="connsiteX4" fmla="*/ 0 w 6545465"/>
              <a:gd name="connsiteY4" fmla="*/ 3272733 h 6545465"/>
              <a:gd name="connsiteX0" fmla="*/ 0 w 6545466"/>
              <a:gd name="connsiteY0" fmla="*/ 3276900 h 6549633"/>
              <a:gd name="connsiteX1" fmla="*/ 3272733 w 6545466"/>
              <a:gd name="connsiteY1" fmla="*/ 4167 h 6549633"/>
              <a:gd name="connsiteX2" fmla="*/ 6545466 w 6545466"/>
              <a:gd name="connsiteY2" fmla="*/ 3276900 h 6549633"/>
              <a:gd name="connsiteX3" fmla="*/ 3272733 w 6545466"/>
              <a:gd name="connsiteY3" fmla="*/ 6549633 h 6549633"/>
              <a:gd name="connsiteX4" fmla="*/ 0 w 6545466"/>
              <a:gd name="connsiteY4" fmla="*/ 3276900 h 6549633"/>
              <a:gd name="connsiteX0" fmla="*/ 79808 w 6625274"/>
              <a:gd name="connsiteY0" fmla="*/ 3276900 h 6549633"/>
              <a:gd name="connsiteX1" fmla="*/ 3352541 w 6625274"/>
              <a:gd name="connsiteY1" fmla="*/ 4167 h 6549633"/>
              <a:gd name="connsiteX2" fmla="*/ 6625274 w 6625274"/>
              <a:gd name="connsiteY2" fmla="*/ 3276900 h 6549633"/>
              <a:gd name="connsiteX3" fmla="*/ 3352541 w 6625274"/>
              <a:gd name="connsiteY3" fmla="*/ 6549633 h 6549633"/>
              <a:gd name="connsiteX4" fmla="*/ 79808 w 6625274"/>
              <a:gd name="connsiteY4" fmla="*/ 3276900 h 6549633"/>
              <a:gd name="connsiteX0" fmla="*/ 79808 w 6726703"/>
              <a:gd name="connsiteY0" fmla="*/ 3276900 h 6549633"/>
              <a:gd name="connsiteX1" fmla="*/ 3352541 w 6726703"/>
              <a:gd name="connsiteY1" fmla="*/ 4167 h 6549633"/>
              <a:gd name="connsiteX2" fmla="*/ 6625274 w 6726703"/>
              <a:gd name="connsiteY2" fmla="*/ 3276900 h 6549633"/>
              <a:gd name="connsiteX3" fmla="*/ 3352541 w 6726703"/>
              <a:gd name="connsiteY3" fmla="*/ 6549633 h 6549633"/>
              <a:gd name="connsiteX4" fmla="*/ 79808 w 6726703"/>
              <a:gd name="connsiteY4" fmla="*/ 3276900 h 6549633"/>
              <a:gd name="connsiteX0" fmla="*/ 79808 w 6726703"/>
              <a:gd name="connsiteY0" fmla="*/ 3276900 h 6552821"/>
              <a:gd name="connsiteX1" fmla="*/ 3352541 w 6726703"/>
              <a:gd name="connsiteY1" fmla="*/ 4167 h 6552821"/>
              <a:gd name="connsiteX2" fmla="*/ 6625274 w 6726703"/>
              <a:gd name="connsiteY2" fmla="*/ 3276900 h 6552821"/>
              <a:gd name="connsiteX3" fmla="*/ 3352541 w 6726703"/>
              <a:gd name="connsiteY3" fmla="*/ 6549633 h 6552821"/>
              <a:gd name="connsiteX4" fmla="*/ 79808 w 6726703"/>
              <a:gd name="connsiteY4" fmla="*/ 3276900 h 6552821"/>
              <a:gd name="connsiteX0" fmla="*/ 79808 w 6676818"/>
              <a:gd name="connsiteY0" fmla="*/ 3277228 h 6553149"/>
              <a:gd name="connsiteX1" fmla="*/ 3352541 w 6676818"/>
              <a:gd name="connsiteY1" fmla="*/ 4495 h 6553149"/>
              <a:gd name="connsiteX2" fmla="*/ 6625274 w 6676818"/>
              <a:gd name="connsiteY2" fmla="*/ 3277228 h 6553149"/>
              <a:gd name="connsiteX3" fmla="*/ 3352541 w 6676818"/>
              <a:gd name="connsiteY3" fmla="*/ 6549961 h 6553149"/>
              <a:gd name="connsiteX4" fmla="*/ 79808 w 6676818"/>
              <a:gd name="connsiteY4" fmla="*/ 3277228 h 6553149"/>
              <a:gd name="connsiteX0" fmla="*/ 79808 w 6643641"/>
              <a:gd name="connsiteY0" fmla="*/ 3277803 h 6553724"/>
              <a:gd name="connsiteX1" fmla="*/ 3352541 w 6643641"/>
              <a:gd name="connsiteY1" fmla="*/ 5070 h 6553724"/>
              <a:gd name="connsiteX2" fmla="*/ 6625274 w 6643641"/>
              <a:gd name="connsiteY2" fmla="*/ 3277803 h 6553724"/>
              <a:gd name="connsiteX3" fmla="*/ 3352541 w 6643641"/>
              <a:gd name="connsiteY3" fmla="*/ 6550536 h 6553724"/>
              <a:gd name="connsiteX4" fmla="*/ 79808 w 6643641"/>
              <a:gd name="connsiteY4" fmla="*/ 3277803 h 6553724"/>
              <a:gd name="connsiteX0" fmla="*/ 39113 w 6877484"/>
              <a:gd name="connsiteY0" fmla="*/ 3275798 h 6550368"/>
              <a:gd name="connsiteX1" fmla="*/ 3311846 w 6877484"/>
              <a:gd name="connsiteY1" fmla="*/ 3065 h 6550368"/>
              <a:gd name="connsiteX2" fmla="*/ 6871182 w 6877484"/>
              <a:gd name="connsiteY2" fmla="*/ 2907309 h 6550368"/>
              <a:gd name="connsiteX3" fmla="*/ 3311846 w 6877484"/>
              <a:gd name="connsiteY3" fmla="*/ 6548531 h 6550368"/>
              <a:gd name="connsiteX4" fmla="*/ 39113 w 6877484"/>
              <a:gd name="connsiteY4" fmla="*/ 3275798 h 6550368"/>
              <a:gd name="connsiteX0" fmla="*/ 29741 w 6868112"/>
              <a:gd name="connsiteY0" fmla="*/ 3275798 h 6551045"/>
              <a:gd name="connsiteX1" fmla="*/ 3302474 w 6868112"/>
              <a:gd name="connsiteY1" fmla="*/ 3065 h 6551045"/>
              <a:gd name="connsiteX2" fmla="*/ 6861810 w 6868112"/>
              <a:gd name="connsiteY2" fmla="*/ 2907309 h 6551045"/>
              <a:gd name="connsiteX3" fmla="*/ 3302474 w 6868112"/>
              <a:gd name="connsiteY3" fmla="*/ 6548531 h 6551045"/>
              <a:gd name="connsiteX4" fmla="*/ 29741 w 6868112"/>
              <a:gd name="connsiteY4" fmla="*/ 3275798 h 6551045"/>
              <a:gd name="connsiteX0" fmla="*/ 29741 w 6868112"/>
              <a:gd name="connsiteY0" fmla="*/ 3275798 h 6551045"/>
              <a:gd name="connsiteX1" fmla="*/ 3302474 w 6868112"/>
              <a:gd name="connsiteY1" fmla="*/ 3065 h 6551045"/>
              <a:gd name="connsiteX2" fmla="*/ 6861810 w 6868112"/>
              <a:gd name="connsiteY2" fmla="*/ 2907309 h 6551045"/>
              <a:gd name="connsiteX3" fmla="*/ 3302474 w 6868112"/>
              <a:gd name="connsiteY3" fmla="*/ 6548531 h 6551045"/>
              <a:gd name="connsiteX4" fmla="*/ 29741 w 6868112"/>
              <a:gd name="connsiteY4" fmla="*/ 3275798 h 6551045"/>
              <a:gd name="connsiteX0" fmla="*/ 2708 w 6839034"/>
              <a:gd name="connsiteY0" fmla="*/ 3274194 h 6452672"/>
              <a:gd name="connsiteX1" fmla="*/ 3275441 w 6839034"/>
              <a:gd name="connsiteY1" fmla="*/ 1461 h 6452672"/>
              <a:gd name="connsiteX2" fmla="*/ 6834777 w 6839034"/>
              <a:gd name="connsiteY2" fmla="*/ 2905705 h 6452672"/>
              <a:gd name="connsiteX3" fmla="*/ 3821351 w 6839034"/>
              <a:gd name="connsiteY3" fmla="*/ 6451392 h 6452672"/>
              <a:gd name="connsiteX4" fmla="*/ 2708 w 6839034"/>
              <a:gd name="connsiteY4" fmla="*/ 3274194 h 6452672"/>
              <a:gd name="connsiteX0" fmla="*/ 18274 w 6869945"/>
              <a:gd name="connsiteY0" fmla="*/ 3096893 h 6275354"/>
              <a:gd name="connsiteX1" fmla="*/ 2581324 w 6869945"/>
              <a:gd name="connsiteY1" fmla="*/ 1581 h 6275354"/>
              <a:gd name="connsiteX2" fmla="*/ 6850343 w 6869945"/>
              <a:gd name="connsiteY2" fmla="*/ 2728404 h 6275354"/>
              <a:gd name="connsiteX3" fmla="*/ 3836917 w 6869945"/>
              <a:gd name="connsiteY3" fmla="*/ 6274091 h 6275354"/>
              <a:gd name="connsiteX4" fmla="*/ 18274 w 6869945"/>
              <a:gd name="connsiteY4" fmla="*/ 3096893 h 6275354"/>
              <a:gd name="connsiteX0" fmla="*/ 36659 w 6888330"/>
              <a:gd name="connsiteY0" fmla="*/ 3095333 h 6273794"/>
              <a:gd name="connsiteX1" fmla="*/ 2599709 w 6888330"/>
              <a:gd name="connsiteY1" fmla="*/ 21 h 6273794"/>
              <a:gd name="connsiteX2" fmla="*/ 6868728 w 6888330"/>
              <a:gd name="connsiteY2" fmla="*/ 2726844 h 6273794"/>
              <a:gd name="connsiteX3" fmla="*/ 3855302 w 6888330"/>
              <a:gd name="connsiteY3" fmla="*/ 6272531 h 6273794"/>
              <a:gd name="connsiteX4" fmla="*/ 36659 w 6888330"/>
              <a:gd name="connsiteY4" fmla="*/ 3095333 h 6273794"/>
              <a:gd name="connsiteX0" fmla="*/ 36659 w 6875194"/>
              <a:gd name="connsiteY0" fmla="*/ 3095343 h 6273804"/>
              <a:gd name="connsiteX1" fmla="*/ 2599709 w 6875194"/>
              <a:gd name="connsiteY1" fmla="*/ 31 h 6273804"/>
              <a:gd name="connsiteX2" fmla="*/ 6868728 w 6875194"/>
              <a:gd name="connsiteY2" fmla="*/ 2726854 h 6273804"/>
              <a:gd name="connsiteX3" fmla="*/ 3855302 w 6875194"/>
              <a:gd name="connsiteY3" fmla="*/ 6272541 h 6273804"/>
              <a:gd name="connsiteX4" fmla="*/ 36659 w 6875194"/>
              <a:gd name="connsiteY4" fmla="*/ 3095343 h 6273804"/>
              <a:gd name="connsiteX0" fmla="*/ 36659 w 6878153"/>
              <a:gd name="connsiteY0" fmla="*/ 3095343 h 6272939"/>
              <a:gd name="connsiteX1" fmla="*/ 2599709 w 6878153"/>
              <a:gd name="connsiteY1" fmla="*/ 31 h 6272939"/>
              <a:gd name="connsiteX2" fmla="*/ 6868728 w 6878153"/>
              <a:gd name="connsiteY2" fmla="*/ 2726854 h 6272939"/>
              <a:gd name="connsiteX3" fmla="*/ 3855302 w 6878153"/>
              <a:gd name="connsiteY3" fmla="*/ 6272541 h 6272939"/>
              <a:gd name="connsiteX4" fmla="*/ 36659 w 6878153"/>
              <a:gd name="connsiteY4" fmla="*/ 3095343 h 6272939"/>
              <a:gd name="connsiteX0" fmla="*/ 22756 w 6864250"/>
              <a:gd name="connsiteY0" fmla="*/ 3095343 h 6273145"/>
              <a:gd name="connsiteX1" fmla="*/ 2585806 w 6864250"/>
              <a:gd name="connsiteY1" fmla="*/ 31 h 6273145"/>
              <a:gd name="connsiteX2" fmla="*/ 6854825 w 6864250"/>
              <a:gd name="connsiteY2" fmla="*/ 2726854 h 6273145"/>
              <a:gd name="connsiteX3" fmla="*/ 3841399 w 6864250"/>
              <a:gd name="connsiteY3" fmla="*/ 6272541 h 6273145"/>
              <a:gd name="connsiteX4" fmla="*/ 22756 w 6864250"/>
              <a:gd name="connsiteY4" fmla="*/ 3095343 h 6273145"/>
              <a:gd name="connsiteX0" fmla="*/ 39020 w 6880514"/>
              <a:gd name="connsiteY0" fmla="*/ 3125882 h 6303684"/>
              <a:gd name="connsiteX1" fmla="*/ 2602070 w 6880514"/>
              <a:gd name="connsiteY1" fmla="*/ 30570 h 6303684"/>
              <a:gd name="connsiteX2" fmla="*/ 6871089 w 6880514"/>
              <a:gd name="connsiteY2" fmla="*/ 2757393 h 6303684"/>
              <a:gd name="connsiteX3" fmla="*/ 3857663 w 6880514"/>
              <a:gd name="connsiteY3" fmla="*/ 6303080 h 6303684"/>
              <a:gd name="connsiteX4" fmla="*/ 39020 w 6880514"/>
              <a:gd name="connsiteY4" fmla="*/ 3125882 h 6303684"/>
              <a:gd name="connsiteX0" fmla="*/ 56031 w 6913611"/>
              <a:gd name="connsiteY0" fmla="*/ 3117444 h 6076712"/>
              <a:gd name="connsiteX1" fmla="*/ 2619081 w 6913611"/>
              <a:gd name="connsiteY1" fmla="*/ 22132 h 6076712"/>
              <a:gd name="connsiteX2" fmla="*/ 6888100 w 6913611"/>
              <a:gd name="connsiteY2" fmla="*/ 2748955 h 6076712"/>
              <a:gd name="connsiteX3" fmla="*/ 3847379 w 6913611"/>
              <a:gd name="connsiteY3" fmla="*/ 6076278 h 6076712"/>
              <a:gd name="connsiteX4" fmla="*/ 56031 w 6913611"/>
              <a:gd name="connsiteY4" fmla="*/ 3117444 h 6076712"/>
              <a:gd name="connsiteX0" fmla="*/ 56031 w 6922854"/>
              <a:gd name="connsiteY0" fmla="*/ 3117444 h 6122150"/>
              <a:gd name="connsiteX1" fmla="*/ 2619081 w 6922854"/>
              <a:gd name="connsiteY1" fmla="*/ 22132 h 6122150"/>
              <a:gd name="connsiteX2" fmla="*/ 6888100 w 6922854"/>
              <a:gd name="connsiteY2" fmla="*/ 2748955 h 6122150"/>
              <a:gd name="connsiteX3" fmla="*/ 3847379 w 6922854"/>
              <a:gd name="connsiteY3" fmla="*/ 6076278 h 6122150"/>
              <a:gd name="connsiteX4" fmla="*/ 56031 w 6922854"/>
              <a:gd name="connsiteY4" fmla="*/ 3117444 h 6122150"/>
              <a:gd name="connsiteX0" fmla="*/ 56031 w 6893804"/>
              <a:gd name="connsiteY0" fmla="*/ 3119673 h 6124379"/>
              <a:gd name="connsiteX1" fmla="*/ 2619081 w 6893804"/>
              <a:gd name="connsiteY1" fmla="*/ 24361 h 6124379"/>
              <a:gd name="connsiteX2" fmla="*/ 6888100 w 6893804"/>
              <a:gd name="connsiteY2" fmla="*/ 2751184 h 6124379"/>
              <a:gd name="connsiteX3" fmla="*/ 3847379 w 6893804"/>
              <a:gd name="connsiteY3" fmla="*/ 6078507 h 6124379"/>
              <a:gd name="connsiteX4" fmla="*/ 56031 w 6893804"/>
              <a:gd name="connsiteY4" fmla="*/ 3119673 h 612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804" h="6124379">
                <a:moveTo>
                  <a:pt x="56031" y="3119673"/>
                </a:moveTo>
                <a:cubicBezTo>
                  <a:pt x="-148685" y="2110649"/>
                  <a:pt x="101979" y="276845"/>
                  <a:pt x="2619081" y="24361"/>
                </a:cubicBezTo>
                <a:cubicBezTo>
                  <a:pt x="5136183" y="-228123"/>
                  <a:pt x="7010930" y="1537444"/>
                  <a:pt x="6888100" y="2751184"/>
                </a:cubicBezTo>
                <a:cubicBezTo>
                  <a:pt x="6765270" y="3964924"/>
                  <a:pt x="6432719" y="5675897"/>
                  <a:pt x="3847379" y="6078507"/>
                </a:cubicBezTo>
                <a:cubicBezTo>
                  <a:pt x="1262039" y="6481117"/>
                  <a:pt x="260747" y="4128697"/>
                  <a:pt x="56031" y="3119673"/>
                </a:cubicBezTo>
                <a:close/>
              </a:path>
            </a:pathLst>
          </a:custGeom>
          <a:solidFill>
            <a:schemeClr val="bg2"/>
          </a:solidFill>
          <a:ln>
            <a:noFill/>
          </a:ln>
          <a:effectLst>
            <a:outerShdw blurRad="1905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3">
            <a:extLst>
              <a:ext uri="{FF2B5EF4-FFF2-40B4-BE49-F238E27FC236}">
                <a16:creationId xmlns:a16="http://schemas.microsoft.com/office/drawing/2014/main" id="{F03DA388-4DC4-8E44-B2DE-B396FAC127DE}"/>
              </a:ext>
            </a:extLst>
          </p:cNvPr>
          <p:cNvSpPr txBox="1">
            <a:spLocks/>
          </p:cNvSpPr>
          <p:nvPr userDrawn="1"/>
        </p:nvSpPr>
        <p:spPr>
          <a:xfrm>
            <a:off x="3594499" y="1700297"/>
            <a:ext cx="5003002" cy="680224"/>
          </a:xfrm>
          <a:prstGeom prst="rect">
            <a:avLst/>
          </a:prstGeom>
        </p:spPr>
        <p:txBody>
          <a:bodyPr anchor="ctr">
            <a:noAutofit/>
          </a:bodyPr>
          <a:lstStyle>
            <a:lvl1pPr algn="l" defTabSz="914400" rtl="0" eaLnBrk="1" latinLnBrk="0" hangingPunct="1">
              <a:lnSpc>
                <a:spcPct val="100000"/>
              </a:lnSpc>
              <a:spcBef>
                <a:spcPts val="0"/>
              </a:spcBef>
              <a:spcAft>
                <a:spcPts val="600"/>
              </a:spcAft>
              <a:buNone/>
              <a:defRPr sz="4000" b="1" kern="1200">
                <a:solidFill>
                  <a:schemeClr val="bg1"/>
                </a:solidFill>
                <a:latin typeface="Myriad Pro" panose="020B0503030403020204" pitchFamily="34" charset="0"/>
                <a:ea typeface="+mj-ea"/>
                <a:cs typeface="+mj-cs"/>
              </a:defRPr>
            </a:lvl1pPr>
          </a:lstStyle>
          <a:p>
            <a:pPr algn="ctr"/>
            <a:r>
              <a:rPr lang="en-US" sz="3600" b="0" spc="600" dirty="0">
                <a:solidFill>
                  <a:schemeClr val="tx2">
                    <a:lumMod val="75000"/>
                  </a:schemeClr>
                </a:solidFill>
              </a:rPr>
              <a:t>OUR PURPOSE</a:t>
            </a:r>
          </a:p>
        </p:txBody>
      </p:sp>
      <p:pic>
        <p:nvPicPr>
          <p:cNvPr id="4" name="Picture 3">
            <a:extLst>
              <a:ext uri="{FF2B5EF4-FFF2-40B4-BE49-F238E27FC236}">
                <a16:creationId xmlns:a16="http://schemas.microsoft.com/office/drawing/2014/main" id="{38CBF773-E571-E446-83EE-8DFC5FA4F2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51199"/>
            <a:ext cx="12192000" cy="6606801"/>
          </a:xfrm>
          <a:prstGeom prst="rect">
            <a:avLst/>
          </a:prstGeom>
        </p:spPr>
      </p:pic>
    </p:spTree>
    <p:extLst>
      <p:ext uri="{BB962C8B-B14F-4D97-AF65-F5344CB8AC3E}">
        <p14:creationId xmlns:p14="http://schemas.microsoft.com/office/powerpoint/2010/main" val="5586224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4ED0A5F9-853F-3E4B-9EF7-E07004BB6A2C}"/>
              </a:ext>
            </a:extLst>
          </p:cNvPr>
          <p:cNvSpPr/>
          <p:nvPr userDrawn="1"/>
        </p:nvSpPr>
        <p:spPr>
          <a:xfrm rot="5400000">
            <a:off x="6759525" y="-120949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35272 w 4222981"/>
              <a:gd name="connsiteY4" fmla="*/ 1694280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889945 w 4222981"/>
              <a:gd name="connsiteY4" fmla="*/ 1928456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627162" y="461320"/>
                  <a:pt x="889945" y="1928456"/>
                </a:cubicBezTo>
                <a:cubicBezTo>
                  <a:pt x="152728" y="3395592"/>
                  <a:pt x="3358" y="6636279"/>
                  <a:pt x="0" y="6641969"/>
                </a:cubicBez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7">
            <a:extLst>
              <a:ext uri="{FF2B5EF4-FFF2-40B4-BE49-F238E27FC236}">
                <a16:creationId xmlns:a16="http://schemas.microsoft.com/office/drawing/2014/main" id="{F45FEB03-27F1-834E-BE9C-CBF7B5CDEA11}"/>
              </a:ext>
            </a:extLst>
          </p:cNvPr>
          <p:cNvSpPr/>
          <p:nvPr userDrawn="1"/>
        </p:nvSpPr>
        <p:spPr>
          <a:xfrm rot="16200000">
            <a:off x="1209493" y="142552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090668 w 4222981"/>
              <a:gd name="connsiteY4" fmla="*/ 1895002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995154" y="327505"/>
                  <a:pt x="1090668" y="1895002"/>
                </a:cubicBezTo>
                <a:cubicBezTo>
                  <a:pt x="186182" y="3462499"/>
                  <a:pt x="3358" y="6636279"/>
                  <a:pt x="0" y="6641969"/>
                </a:cubicBez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4" name="Group 3">
            <a:extLst>
              <a:ext uri="{FF2B5EF4-FFF2-40B4-BE49-F238E27FC236}">
                <a16:creationId xmlns:a16="http://schemas.microsoft.com/office/drawing/2014/main" id="{8D6F1D8C-0B31-1F4F-A7D1-64092A2690FE}"/>
              </a:ext>
            </a:extLst>
          </p:cNvPr>
          <p:cNvGrpSpPr/>
          <p:nvPr userDrawn="1"/>
        </p:nvGrpSpPr>
        <p:grpSpPr>
          <a:xfrm>
            <a:off x="5227320" y="187646"/>
            <a:ext cx="1737361" cy="6482709"/>
            <a:chOff x="5227320" y="375291"/>
            <a:chExt cx="1737361" cy="6482709"/>
          </a:xfrm>
          <a:solidFill>
            <a:schemeClr val="tx2">
              <a:lumMod val="75000"/>
            </a:schemeClr>
          </a:solidFill>
        </p:grpSpPr>
        <p:pic>
          <p:nvPicPr>
            <p:cNvPr id="5" name="Graphic 4" descr="Open quotation mark outline">
              <a:extLst>
                <a:ext uri="{FF2B5EF4-FFF2-40B4-BE49-F238E27FC236}">
                  <a16:creationId xmlns:a16="http://schemas.microsoft.com/office/drawing/2014/main" id="{94EA5BD1-2DE9-3743-85B7-D4CAEAFCCD5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27320" y="375291"/>
              <a:ext cx="1737360" cy="1737360"/>
            </a:xfrm>
            <a:prstGeom prst="rect">
              <a:avLst/>
            </a:prstGeom>
          </p:spPr>
        </p:pic>
        <p:pic>
          <p:nvPicPr>
            <p:cNvPr id="6" name="Graphic 5" descr="Open quotation mark outline">
              <a:extLst>
                <a:ext uri="{FF2B5EF4-FFF2-40B4-BE49-F238E27FC236}">
                  <a16:creationId xmlns:a16="http://schemas.microsoft.com/office/drawing/2014/main" id="{11C26C6E-0863-BD40-A6E0-BECFC8852A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227321" y="5120640"/>
              <a:ext cx="1737360" cy="1737360"/>
            </a:xfrm>
            <a:prstGeom prst="rect">
              <a:avLst/>
            </a:prstGeom>
          </p:spPr>
        </p:pic>
      </p:grpSp>
      <p:pic>
        <p:nvPicPr>
          <p:cNvPr id="9" name="Picture 8">
            <a:extLst>
              <a:ext uri="{FF2B5EF4-FFF2-40B4-BE49-F238E27FC236}">
                <a16:creationId xmlns:a16="http://schemas.microsoft.com/office/drawing/2014/main" id="{D29BAD2A-89B2-FC4D-9419-155D659753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3" name="Text Placeholder 12">
            <a:extLst>
              <a:ext uri="{FF2B5EF4-FFF2-40B4-BE49-F238E27FC236}">
                <a16:creationId xmlns:a16="http://schemas.microsoft.com/office/drawing/2014/main" id="{A46F646E-B23E-2F48-A6FD-ED485FC26364}"/>
              </a:ext>
            </a:extLst>
          </p:cNvPr>
          <p:cNvSpPr>
            <a:spLocks noGrp="1"/>
          </p:cNvSpPr>
          <p:nvPr userDrawn="1">
            <p:ph type="body" sz="quarter" idx="11" hasCustomPrompt="1"/>
          </p:nvPr>
        </p:nvSpPr>
        <p:spPr>
          <a:xfrm>
            <a:off x="1362004" y="1907756"/>
            <a:ext cx="9467993" cy="3042489"/>
          </a:xfrm>
        </p:spPr>
        <p:txBody>
          <a:bodyPr anchor="ctr">
            <a:normAutofit/>
          </a:bodyPr>
          <a:lstStyle>
            <a:lvl1pPr algn="ctr">
              <a:lnSpc>
                <a:spcPct val="150000"/>
              </a:lnSpc>
              <a:defRPr sz="2800" b="1" i="1">
                <a:solidFill>
                  <a:schemeClr val="bg1"/>
                </a:solidFill>
              </a:defRPr>
            </a:lvl1pPr>
          </a:lstStyle>
          <a:p>
            <a:pPr lvl="0"/>
            <a:r>
              <a:rPr lang="en-US"/>
              <a:t>QUOTE</a:t>
            </a:r>
          </a:p>
        </p:txBody>
      </p:sp>
      <p:sp>
        <p:nvSpPr>
          <p:cNvPr id="14" name="Slide Number Placeholder 8">
            <a:extLst>
              <a:ext uri="{FF2B5EF4-FFF2-40B4-BE49-F238E27FC236}">
                <a16:creationId xmlns:a16="http://schemas.microsoft.com/office/drawing/2014/main" id="{84187601-B5D1-0245-9151-CA3FD8D6A712}"/>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183889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Content">
    <p:bg>
      <p:bgPr>
        <a:solidFill>
          <a:schemeClr val="tx2"/>
        </a:solidFill>
        <a:effectLst/>
      </p:bgPr>
    </p:bg>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ED9EBE19-53A1-6748-B959-2B7E5881145A}"/>
              </a:ext>
            </a:extLst>
          </p:cNvPr>
          <p:cNvSpPr/>
          <p:nvPr userDrawn="1"/>
        </p:nvSpPr>
        <p:spPr>
          <a:xfrm flipV="1">
            <a:off x="0" y="0"/>
            <a:ext cx="6183630" cy="6858000"/>
          </a:xfrm>
          <a:custGeom>
            <a:avLst/>
            <a:gdLst>
              <a:gd name="connsiteX0" fmla="*/ 0 w 5780868"/>
              <a:gd name="connsiteY0" fmla="*/ 0 h 6858000"/>
              <a:gd name="connsiteX1" fmla="*/ 5780868 w 5780868"/>
              <a:gd name="connsiteY1" fmla="*/ 0 h 6858000"/>
              <a:gd name="connsiteX2" fmla="*/ 5780868 w 5780868"/>
              <a:gd name="connsiteY2" fmla="*/ 6858000 h 6858000"/>
              <a:gd name="connsiteX3" fmla="*/ 0 w 5780868"/>
              <a:gd name="connsiteY3" fmla="*/ 6858000 h 6858000"/>
              <a:gd name="connsiteX4" fmla="*/ 0 w 5780868"/>
              <a:gd name="connsiteY4" fmla="*/ 0 h 6858000"/>
              <a:gd name="connsiteX0" fmla="*/ 0 w 6369238"/>
              <a:gd name="connsiteY0" fmla="*/ 0 h 6858000"/>
              <a:gd name="connsiteX1" fmla="*/ 5780868 w 6369238"/>
              <a:gd name="connsiteY1" fmla="*/ 0 h 6858000"/>
              <a:gd name="connsiteX2" fmla="*/ 5780868 w 6369238"/>
              <a:gd name="connsiteY2" fmla="*/ 6858000 h 6858000"/>
              <a:gd name="connsiteX3" fmla="*/ 0 w 6369238"/>
              <a:gd name="connsiteY3" fmla="*/ 6858000 h 6858000"/>
              <a:gd name="connsiteX4" fmla="*/ 0 w 6369238"/>
              <a:gd name="connsiteY4" fmla="*/ 0 h 6858000"/>
              <a:gd name="connsiteX0" fmla="*/ 0 w 6254332"/>
              <a:gd name="connsiteY0" fmla="*/ 0 h 6858000"/>
              <a:gd name="connsiteX1" fmla="*/ 5780868 w 6254332"/>
              <a:gd name="connsiteY1" fmla="*/ 0 h 6858000"/>
              <a:gd name="connsiteX2" fmla="*/ 5780868 w 6254332"/>
              <a:gd name="connsiteY2" fmla="*/ 6858000 h 6858000"/>
              <a:gd name="connsiteX3" fmla="*/ 0 w 6254332"/>
              <a:gd name="connsiteY3" fmla="*/ 6858000 h 6858000"/>
              <a:gd name="connsiteX4" fmla="*/ 0 w 6254332"/>
              <a:gd name="connsiteY4" fmla="*/ 0 h 6858000"/>
              <a:gd name="connsiteX0" fmla="*/ 0 w 6047275"/>
              <a:gd name="connsiteY0" fmla="*/ 0 h 6858000"/>
              <a:gd name="connsiteX1" fmla="*/ 5780868 w 6047275"/>
              <a:gd name="connsiteY1" fmla="*/ 0 h 6858000"/>
              <a:gd name="connsiteX2" fmla="*/ 5780868 w 6047275"/>
              <a:gd name="connsiteY2" fmla="*/ 6858000 h 6858000"/>
              <a:gd name="connsiteX3" fmla="*/ 0 w 6047275"/>
              <a:gd name="connsiteY3" fmla="*/ 6858000 h 6858000"/>
              <a:gd name="connsiteX4" fmla="*/ 0 w 6047275"/>
              <a:gd name="connsiteY4" fmla="*/ 0 h 6858000"/>
              <a:gd name="connsiteX0" fmla="*/ 0 w 6224191"/>
              <a:gd name="connsiteY0" fmla="*/ 0 h 6858000"/>
              <a:gd name="connsiteX1" fmla="*/ 5780868 w 6224191"/>
              <a:gd name="connsiteY1" fmla="*/ 0 h 6858000"/>
              <a:gd name="connsiteX2" fmla="*/ 5780868 w 6224191"/>
              <a:gd name="connsiteY2" fmla="*/ 6858000 h 6858000"/>
              <a:gd name="connsiteX3" fmla="*/ 0 w 6224191"/>
              <a:gd name="connsiteY3" fmla="*/ 6858000 h 6858000"/>
              <a:gd name="connsiteX4" fmla="*/ 0 w 622419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191" h="6858000">
                <a:moveTo>
                  <a:pt x="0" y="0"/>
                </a:moveTo>
                <a:lnTo>
                  <a:pt x="5780868" y="0"/>
                </a:lnTo>
                <a:cubicBezTo>
                  <a:pt x="7034476" y="2062671"/>
                  <a:pt x="5166718" y="4476466"/>
                  <a:pt x="5780868" y="6858000"/>
                </a:cubicBezTo>
                <a:lnTo>
                  <a:pt x="0" y="6858000"/>
                </a:lnTo>
                <a:lnTo>
                  <a:pt x="0" y="0"/>
                </a:lnTo>
                <a:close/>
              </a:path>
            </a:pathLst>
          </a:custGeom>
          <a:solidFill>
            <a:schemeClr val="bg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latin typeface="Myriad Pro" panose="020B0503030403020204" pitchFamily="34" charset="0"/>
            </a:endParaRPr>
          </a:p>
        </p:txBody>
      </p:sp>
      <p:sp>
        <p:nvSpPr>
          <p:cNvPr id="2" name="Title 1">
            <a:extLst>
              <a:ext uri="{FF2B5EF4-FFF2-40B4-BE49-F238E27FC236}">
                <a16:creationId xmlns:a16="http://schemas.microsoft.com/office/drawing/2014/main" id="{AC2E8B19-CB5B-C74E-9371-8079759EE9C9}"/>
              </a:ext>
            </a:extLst>
          </p:cNvPr>
          <p:cNvSpPr>
            <a:spLocks noGrp="1"/>
          </p:cNvSpPr>
          <p:nvPr>
            <p:ph type="title" hasCustomPrompt="1"/>
          </p:nvPr>
        </p:nvSpPr>
        <p:spPr>
          <a:xfrm>
            <a:off x="335971" y="253111"/>
            <a:ext cx="9912929" cy="807063"/>
          </a:xfrm>
        </p:spPr>
        <p:txBody>
          <a:bodyPr anchor="t"/>
          <a:lstStyle>
            <a:lvl1pPr>
              <a:spcAft>
                <a:spcPts val="600"/>
              </a:spcAft>
              <a:defRPr>
                <a:solidFill>
                  <a:schemeClr val="accent4"/>
                </a:solidFill>
              </a:defRPr>
            </a:lvl1pPr>
          </a:lstStyle>
          <a:p>
            <a:r>
              <a:rPr lang="en-US"/>
              <a:t>HEADLINE</a:t>
            </a:r>
          </a:p>
        </p:txBody>
      </p:sp>
      <p:sp>
        <p:nvSpPr>
          <p:cNvPr id="33" name="Text Placeholder 32">
            <a:extLst>
              <a:ext uri="{FF2B5EF4-FFF2-40B4-BE49-F238E27FC236}">
                <a16:creationId xmlns:a16="http://schemas.microsoft.com/office/drawing/2014/main" id="{D5DF20A0-1CDA-FD4B-A4F7-F41929E599D8}"/>
              </a:ext>
            </a:extLst>
          </p:cNvPr>
          <p:cNvSpPr>
            <a:spLocks noGrp="1"/>
          </p:cNvSpPr>
          <p:nvPr>
            <p:ph type="body" sz="quarter" idx="11" hasCustomPrompt="1"/>
          </p:nvPr>
        </p:nvSpPr>
        <p:spPr>
          <a:xfrm>
            <a:off x="335971" y="1114227"/>
            <a:ext cx="5453457" cy="538993"/>
          </a:xfrm>
        </p:spPr>
        <p:txBody>
          <a:bodyPr anchor="t">
            <a:normAutofit/>
          </a:bodyPr>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34" name="Text Placeholder 32">
            <a:extLst>
              <a:ext uri="{FF2B5EF4-FFF2-40B4-BE49-F238E27FC236}">
                <a16:creationId xmlns:a16="http://schemas.microsoft.com/office/drawing/2014/main" id="{E6115007-1A8D-FF46-AA26-55DAC750C195}"/>
              </a:ext>
            </a:extLst>
          </p:cNvPr>
          <p:cNvSpPr>
            <a:spLocks noGrp="1"/>
          </p:cNvSpPr>
          <p:nvPr>
            <p:ph type="body" sz="quarter" idx="12" hasCustomPrompt="1"/>
          </p:nvPr>
        </p:nvSpPr>
        <p:spPr>
          <a:xfrm>
            <a:off x="348850" y="1707273"/>
            <a:ext cx="545345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35" name="Text Placeholder 32">
            <a:extLst>
              <a:ext uri="{FF2B5EF4-FFF2-40B4-BE49-F238E27FC236}">
                <a16:creationId xmlns:a16="http://schemas.microsoft.com/office/drawing/2014/main" id="{FB9C1BDF-19DC-0E4B-9F3A-F13C5A20ADB4}"/>
              </a:ext>
            </a:extLst>
          </p:cNvPr>
          <p:cNvSpPr>
            <a:spLocks noGrp="1"/>
          </p:cNvSpPr>
          <p:nvPr>
            <p:ph type="body" sz="quarter" idx="13" hasCustomPrompt="1"/>
          </p:nvPr>
        </p:nvSpPr>
        <p:spPr>
          <a:xfrm>
            <a:off x="348850" y="2146607"/>
            <a:ext cx="5440578"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0" name="Text Placeholder 32">
            <a:extLst>
              <a:ext uri="{FF2B5EF4-FFF2-40B4-BE49-F238E27FC236}">
                <a16:creationId xmlns:a16="http://schemas.microsoft.com/office/drawing/2014/main" id="{FC911E9A-5550-334D-B555-07EAB555B63D}"/>
              </a:ext>
            </a:extLst>
          </p:cNvPr>
          <p:cNvSpPr>
            <a:spLocks noGrp="1"/>
          </p:cNvSpPr>
          <p:nvPr>
            <p:ph type="body" sz="quarter" idx="14" hasCustomPrompt="1"/>
          </p:nvPr>
        </p:nvSpPr>
        <p:spPr>
          <a:xfrm>
            <a:off x="348850" y="3995772"/>
            <a:ext cx="5369370"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1" name="Text Placeholder 32">
            <a:extLst>
              <a:ext uri="{FF2B5EF4-FFF2-40B4-BE49-F238E27FC236}">
                <a16:creationId xmlns:a16="http://schemas.microsoft.com/office/drawing/2014/main" id="{54A11813-EA7F-0541-B566-92731CB77984}"/>
              </a:ext>
            </a:extLst>
          </p:cNvPr>
          <p:cNvSpPr>
            <a:spLocks noGrp="1"/>
          </p:cNvSpPr>
          <p:nvPr>
            <p:ph type="body" sz="quarter" idx="15" hasCustomPrompt="1"/>
          </p:nvPr>
        </p:nvSpPr>
        <p:spPr>
          <a:xfrm>
            <a:off x="348850" y="4435106"/>
            <a:ext cx="5369370"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3" name="Text Placeholder 32">
            <a:extLst>
              <a:ext uri="{FF2B5EF4-FFF2-40B4-BE49-F238E27FC236}">
                <a16:creationId xmlns:a16="http://schemas.microsoft.com/office/drawing/2014/main" id="{8DA707EC-782B-E841-A0D8-4C5522457EBB}"/>
              </a:ext>
            </a:extLst>
          </p:cNvPr>
          <p:cNvSpPr>
            <a:spLocks noGrp="1"/>
          </p:cNvSpPr>
          <p:nvPr>
            <p:ph type="body" sz="quarter" idx="17" hasCustomPrompt="1"/>
          </p:nvPr>
        </p:nvSpPr>
        <p:spPr>
          <a:xfrm>
            <a:off x="6618374" y="1707273"/>
            <a:ext cx="525880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4" name="Text Placeholder 32">
            <a:extLst>
              <a:ext uri="{FF2B5EF4-FFF2-40B4-BE49-F238E27FC236}">
                <a16:creationId xmlns:a16="http://schemas.microsoft.com/office/drawing/2014/main" id="{6830F74B-D6DF-E248-9601-84DCD519BB07}"/>
              </a:ext>
            </a:extLst>
          </p:cNvPr>
          <p:cNvSpPr>
            <a:spLocks noGrp="1"/>
          </p:cNvSpPr>
          <p:nvPr>
            <p:ph type="body" sz="quarter" idx="18" hasCustomPrompt="1"/>
          </p:nvPr>
        </p:nvSpPr>
        <p:spPr>
          <a:xfrm>
            <a:off x="6618373" y="2146607"/>
            <a:ext cx="5245927"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5" name="Text Placeholder 32">
            <a:extLst>
              <a:ext uri="{FF2B5EF4-FFF2-40B4-BE49-F238E27FC236}">
                <a16:creationId xmlns:a16="http://schemas.microsoft.com/office/drawing/2014/main" id="{61C9031A-F8B4-7C42-9F14-14886E3BBE01}"/>
              </a:ext>
            </a:extLst>
          </p:cNvPr>
          <p:cNvSpPr>
            <a:spLocks noGrp="1"/>
          </p:cNvSpPr>
          <p:nvPr>
            <p:ph type="body" sz="quarter" idx="16" hasCustomPrompt="1"/>
          </p:nvPr>
        </p:nvSpPr>
        <p:spPr>
          <a:xfrm>
            <a:off x="6605495" y="1114227"/>
            <a:ext cx="5258806" cy="538993"/>
          </a:xfrm>
        </p:spPr>
        <p:txBody>
          <a:bodyPr anchor="t">
            <a:normAutofit/>
          </a:bodyPr>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46" name="Text Placeholder 32">
            <a:extLst>
              <a:ext uri="{FF2B5EF4-FFF2-40B4-BE49-F238E27FC236}">
                <a16:creationId xmlns:a16="http://schemas.microsoft.com/office/drawing/2014/main" id="{A98405FA-6853-B842-B9DE-AEB4F7AC1477}"/>
              </a:ext>
            </a:extLst>
          </p:cNvPr>
          <p:cNvSpPr>
            <a:spLocks noGrp="1"/>
          </p:cNvSpPr>
          <p:nvPr>
            <p:ph type="body" sz="quarter" idx="19" hasCustomPrompt="1"/>
          </p:nvPr>
        </p:nvSpPr>
        <p:spPr>
          <a:xfrm>
            <a:off x="6618374" y="3995772"/>
            <a:ext cx="525880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7" name="Text Placeholder 32">
            <a:extLst>
              <a:ext uri="{FF2B5EF4-FFF2-40B4-BE49-F238E27FC236}">
                <a16:creationId xmlns:a16="http://schemas.microsoft.com/office/drawing/2014/main" id="{A8870227-E86F-6044-B99E-9537DEF43B35}"/>
              </a:ext>
            </a:extLst>
          </p:cNvPr>
          <p:cNvSpPr>
            <a:spLocks noGrp="1"/>
          </p:cNvSpPr>
          <p:nvPr>
            <p:ph type="body" sz="quarter" idx="20" hasCustomPrompt="1"/>
          </p:nvPr>
        </p:nvSpPr>
        <p:spPr>
          <a:xfrm>
            <a:off x="6618373" y="4435106"/>
            <a:ext cx="5245927"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15" name="Slide Number Placeholder 8">
            <a:extLst>
              <a:ext uri="{FF2B5EF4-FFF2-40B4-BE49-F238E27FC236}">
                <a16:creationId xmlns:a16="http://schemas.microsoft.com/office/drawing/2014/main" id="{F2774B60-F02D-6642-B61B-CA31D6735D51}"/>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082031076"/>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252160"/>
                </a:solidFill>
                <a:latin typeface="Segoe UI"/>
                <a:cs typeface="Segoe UI"/>
              </a:defRPr>
            </a:lvl1pPr>
          </a:lstStyle>
          <a:p>
            <a:endParaRPr/>
          </a:p>
        </p:txBody>
      </p:sp>
      <p:sp>
        <p:nvSpPr>
          <p:cNvPr id="3" name="Holder 3"/>
          <p:cNvSpPr>
            <a:spLocks noGrp="1"/>
          </p:cNvSpPr>
          <p:nvPr>
            <p:ph type="body" idx="1"/>
          </p:nvPr>
        </p:nvSpPr>
        <p:spPr/>
        <p:txBody>
          <a:bodyPr lIns="0" tIns="0" rIns="0" bIns="0"/>
          <a:lstStyle>
            <a:lvl1pPr>
              <a:defRPr sz="1800" b="1" i="0">
                <a:solidFill>
                  <a:srgbClr val="252160"/>
                </a:solidFill>
                <a:latin typeface="Segoe UI"/>
                <a:cs typeface="Segoe U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wo Column Content">
    <p:bg>
      <p:bgPr>
        <a:solidFill>
          <a:schemeClr val="tx2"/>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6A115BC4-AC45-9648-896B-69AB5021007C}"/>
              </a:ext>
            </a:extLst>
          </p:cNvPr>
          <p:cNvSpPr/>
          <p:nvPr userDrawn="1"/>
        </p:nvSpPr>
        <p:spPr>
          <a:xfrm rot="5400000">
            <a:off x="6753682" y="-1215337"/>
            <a:ext cx="4222981" cy="6653655"/>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3655">
                <a:moveTo>
                  <a:pt x="0" y="6641969"/>
                </a:moveTo>
                <a:lnTo>
                  <a:pt x="0" y="0"/>
                </a:lnTo>
                <a:lnTo>
                  <a:pt x="4222981" y="0"/>
                </a:lnTo>
                <a:lnTo>
                  <a:pt x="4222587" y="2489"/>
                </a:lnTo>
                <a:cubicBezTo>
                  <a:pt x="4111473" y="121505"/>
                  <a:pt x="1505636" y="642868"/>
                  <a:pt x="1157575" y="2441411"/>
                </a:cubicBezTo>
                <a:cubicBezTo>
                  <a:pt x="770840" y="4439792"/>
                  <a:pt x="327713" y="6695074"/>
                  <a:pt x="27461" y="6653078"/>
                </a:cubicBezTo>
                <a:lnTo>
                  <a:pt x="0" y="6641969"/>
                </a:ln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6" name="Picture 25">
            <a:extLst>
              <a:ext uri="{FF2B5EF4-FFF2-40B4-BE49-F238E27FC236}">
                <a16:creationId xmlns:a16="http://schemas.microsoft.com/office/drawing/2014/main" id="{5F14FC62-348C-4C4B-879C-4F77A1B364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36" name="Freeform 35">
            <a:extLst>
              <a:ext uri="{FF2B5EF4-FFF2-40B4-BE49-F238E27FC236}">
                <a16:creationId xmlns:a16="http://schemas.microsoft.com/office/drawing/2014/main" id="{EC4D1B96-3D10-104A-B3DA-B3CBFCE6BE7A}"/>
              </a:ext>
            </a:extLst>
          </p:cNvPr>
          <p:cNvSpPr/>
          <p:nvPr userDrawn="1"/>
        </p:nvSpPr>
        <p:spPr>
          <a:xfrm rot="16200000">
            <a:off x="1670795" y="3027327"/>
            <a:ext cx="2159876" cy="5501467"/>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472886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736"/>
              <a:gd name="connsiteX1" fmla="*/ 0 w 4222981"/>
              <a:gd name="connsiteY1" fmla="*/ 0 h 6653736"/>
              <a:gd name="connsiteX2" fmla="*/ 4222981 w 4222981"/>
              <a:gd name="connsiteY2" fmla="*/ 0 h 6653736"/>
              <a:gd name="connsiteX3" fmla="*/ 4222587 w 4222981"/>
              <a:gd name="connsiteY3" fmla="*/ 2489 h 6653736"/>
              <a:gd name="connsiteX4" fmla="*/ 1472886 w 4222981"/>
              <a:gd name="connsiteY4" fmla="*/ 2441411 h 6653736"/>
              <a:gd name="connsiteX5" fmla="*/ 27461 w 4222981"/>
              <a:gd name="connsiteY5" fmla="*/ 6653078 h 6653736"/>
              <a:gd name="connsiteX6" fmla="*/ 0 w 4222981"/>
              <a:gd name="connsiteY6" fmla="*/ 6641969 h 6653736"/>
              <a:gd name="connsiteX0" fmla="*/ 0 w 4222981"/>
              <a:gd name="connsiteY0" fmla="*/ 6641969 h 6653752"/>
              <a:gd name="connsiteX1" fmla="*/ 0 w 4222981"/>
              <a:gd name="connsiteY1" fmla="*/ 0 h 6653752"/>
              <a:gd name="connsiteX2" fmla="*/ 4222981 w 4222981"/>
              <a:gd name="connsiteY2" fmla="*/ 0 h 6653752"/>
              <a:gd name="connsiteX3" fmla="*/ 4222587 w 4222981"/>
              <a:gd name="connsiteY3" fmla="*/ 2489 h 6653752"/>
              <a:gd name="connsiteX4" fmla="*/ 731907 w 4222981"/>
              <a:gd name="connsiteY4" fmla="*/ 2488711 h 6653752"/>
              <a:gd name="connsiteX5" fmla="*/ 27461 w 4222981"/>
              <a:gd name="connsiteY5" fmla="*/ 6653078 h 6653752"/>
              <a:gd name="connsiteX6" fmla="*/ 0 w 4222981"/>
              <a:gd name="connsiteY6" fmla="*/ 6641969 h 6653752"/>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764"/>
              <a:gd name="connsiteX1" fmla="*/ 0 w 4222981"/>
              <a:gd name="connsiteY1" fmla="*/ 0 h 6653764"/>
              <a:gd name="connsiteX2" fmla="*/ 4222981 w 4222981"/>
              <a:gd name="connsiteY2" fmla="*/ 0 h 6653764"/>
              <a:gd name="connsiteX3" fmla="*/ 4222587 w 4222981"/>
              <a:gd name="connsiteY3" fmla="*/ 2489 h 6653764"/>
              <a:gd name="connsiteX4" fmla="*/ 1851255 w 4222981"/>
              <a:gd name="connsiteY4" fmla="*/ 2819790 h 6653764"/>
              <a:gd name="connsiteX5" fmla="*/ 27461 w 4222981"/>
              <a:gd name="connsiteY5" fmla="*/ 6653078 h 6653764"/>
              <a:gd name="connsiteX6" fmla="*/ 0 w 4222981"/>
              <a:gd name="connsiteY6" fmla="*/ 6641969 h 6653764"/>
              <a:gd name="connsiteX0" fmla="*/ 0 w 4299406"/>
              <a:gd name="connsiteY0" fmla="*/ 6641969 h 6656543"/>
              <a:gd name="connsiteX1" fmla="*/ 0 w 4299406"/>
              <a:gd name="connsiteY1" fmla="*/ 0 h 6656543"/>
              <a:gd name="connsiteX2" fmla="*/ 4222981 w 4299406"/>
              <a:gd name="connsiteY2" fmla="*/ 0 h 6656543"/>
              <a:gd name="connsiteX3" fmla="*/ 4222587 w 4299406"/>
              <a:gd name="connsiteY3" fmla="*/ 2489 h 6656543"/>
              <a:gd name="connsiteX4" fmla="*/ 3569697 w 4299406"/>
              <a:gd name="connsiteY4" fmla="*/ 4396345 h 6656543"/>
              <a:gd name="connsiteX5" fmla="*/ 27461 w 4299406"/>
              <a:gd name="connsiteY5" fmla="*/ 6653078 h 6656543"/>
              <a:gd name="connsiteX6" fmla="*/ 0 w 4299406"/>
              <a:gd name="connsiteY6" fmla="*/ 6641969 h 6656543"/>
              <a:gd name="connsiteX0" fmla="*/ 0 w 4657712"/>
              <a:gd name="connsiteY0" fmla="*/ 6641969 h 6654473"/>
              <a:gd name="connsiteX1" fmla="*/ 0 w 4657712"/>
              <a:gd name="connsiteY1" fmla="*/ 0 h 6654473"/>
              <a:gd name="connsiteX2" fmla="*/ 4222981 w 4657712"/>
              <a:gd name="connsiteY2" fmla="*/ 0 h 6654473"/>
              <a:gd name="connsiteX3" fmla="*/ 4222587 w 4657712"/>
              <a:gd name="connsiteY3" fmla="*/ 2489 h 6654473"/>
              <a:gd name="connsiteX4" fmla="*/ 3569697 w 4657712"/>
              <a:gd name="connsiteY4" fmla="*/ 4396345 h 6654473"/>
              <a:gd name="connsiteX5" fmla="*/ 27461 w 4657712"/>
              <a:gd name="connsiteY5" fmla="*/ 6653078 h 6654473"/>
              <a:gd name="connsiteX6" fmla="*/ 0 w 4657712"/>
              <a:gd name="connsiteY6" fmla="*/ 6641969 h 6654473"/>
              <a:gd name="connsiteX0" fmla="*/ 0 w 4222981"/>
              <a:gd name="connsiteY0" fmla="*/ 6641969 h 6698646"/>
              <a:gd name="connsiteX1" fmla="*/ 0 w 4222981"/>
              <a:gd name="connsiteY1" fmla="*/ 0 h 6698646"/>
              <a:gd name="connsiteX2" fmla="*/ 4222981 w 4222981"/>
              <a:gd name="connsiteY2" fmla="*/ 0 h 6698646"/>
              <a:gd name="connsiteX3" fmla="*/ 4222587 w 4222981"/>
              <a:gd name="connsiteY3" fmla="*/ 2489 h 6698646"/>
              <a:gd name="connsiteX4" fmla="*/ 3569697 w 4222981"/>
              <a:gd name="connsiteY4" fmla="*/ 4396345 h 6698646"/>
              <a:gd name="connsiteX5" fmla="*/ 27461 w 4222981"/>
              <a:gd name="connsiteY5" fmla="*/ 6653078 h 6698646"/>
              <a:gd name="connsiteX6" fmla="*/ 0 w 4222981"/>
              <a:gd name="connsiteY6" fmla="*/ 6641969 h 6698646"/>
              <a:gd name="connsiteX0" fmla="*/ 0 w 4222981"/>
              <a:gd name="connsiteY0" fmla="*/ 6641969 h 6655394"/>
              <a:gd name="connsiteX1" fmla="*/ 0 w 4222981"/>
              <a:gd name="connsiteY1" fmla="*/ 0 h 6655394"/>
              <a:gd name="connsiteX2" fmla="*/ 4222981 w 4222981"/>
              <a:gd name="connsiteY2" fmla="*/ 0 h 6655394"/>
              <a:gd name="connsiteX3" fmla="*/ 4222587 w 4222981"/>
              <a:gd name="connsiteY3" fmla="*/ 2489 h 6655394"/>
              <a:gd name="connsiteX4" fmla="*/ 3014847 w 4222981"/>
              <a:gd name="connsiteY4" fmla="*/ 3481060 h 6655394"/>
              <a:gd name="connsiteX5" fmla="*/ 27461 w 4222981"/>
              <a:gd name="connsiteY5" fmla="*/ 6653078 h 6655394"/>
              <a:gd name="connsiteX6" fmla="*/ 0 w 4222981"/>
              <a:gd name="connsiteY6" fmla="*/ 6641969 h 6655394"/>
              <a:gd name="connsiteX0" fmla="*/ 0 w 4222981"/>
              <a:gd name="connsiteY0" fmla="*/ 6641969 h 6654237"/>
              <a:gd name="connsiteX1" fmla="*/ 0 w 4222981"/>
              <a:gd name="connsiteY1" fmla="*/ 0 h 6654237"/>
              <a:gd name="connsiteX2" fmla="*/ 4222981 w 4222981"/>
              <a:gd name="connsiteY2" fmla="*/ 0 h 6654237"/>
              <a:gd name="connsiteX3" fmla="*/ 4222587 w 4222981"/>
              <a:gd name="connsiteY3" fmla="*/ 2489 h 6654237"/>
              <a:gd name="connsiteX4" fmla="*/ 3014847 w 4222981"/>
              <a:gd name="connsiteY4" fmla="*/ 3481060 h 6654237"/>
              <a:gd name="connsiteX5" fmla="*/ 27461 w 4222981"/>
              <a:gd name="connsiteY5" fmla="*/ 6653078 h 6654237"/>
              <a:gd name="connsiteX6" fmla="*/ 0 w 4222981"/>
              <a:gd name="connsiteY6" fmla="*/ 6641969 h 6654237"/>
              <a:gd name="connsiteX0" fmla="*/ 0 w 4222981"/>
              <a:gd name="connsiteY0" fmla="*/ 6641969 h 6654045"/>
              <a:gd name="connsiteX1" fmla="*/ 0 w 4222981"/>
              <a:gd name="connsiteY1" fmla="*/ 0 h 6654045"/>
              <a:gd name="connsiteX2" fmla="*/ 4222981 w 4222981"/>
              <a:gd name="connsiteY2" fmla="*/ 0 h 6654045"/>
              <a:gd name="connsiteX3" fmla="*/ 4222587 w 4222981"/>
              <a:gd name="connsiteY3" fmla="*/ 2489 h 6654045"/>
              <a:gd name="connsiteX4" fmla="*/ 3014847 w 4222981"/>
              <a:gd name="connsiteY4" fmla="*/ 3481060 h 6654045"/>
              <a:gd name="connsiteX5" fmla="*/ 27461 w 4222981"/>
              <a:gd name="connsiteY5" fmla="*/ 6653078 h 6654045"/>
              <a:gd name="connsiteX6" fmla="*/ 0 w 4222981"/>
              <a:gd name="connsiteY6" fmla="*/ 6641969 h 665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4045">
                <a:moveTo>
                  <a:pt x="0" y="6641969"/>
                </a:moveTo>
                <a:lnTo>
                  <a:pt x="0" y="0"/>
                </a:lnTo>
                <a:lnTo>
                  <a:pt x="4222981" y="0"/>
                </a:lnTo>
                <a:cubicBezTo>
                  <a:pt x="4222850" y="830"/>
                  <a:pt x="4222718" y="1659"/>
                  <a:pt x="4222587" y="2489"/>
                </a:cubicBezTo>
                <a:cubicBezTo>
                  <a:pt x="4111473" y="121505"/>
                  <a:pt x="2662883" y="1226085"/>
                  <a:pt x="3014847" y="3481060"/>
                </a:cubicBezTo>
                <a:cubicBezTo>
                  <a:pt x="3309079" y="5366158"/>
                  <a:pt x="327713" y="6695074"/>
                  <a:pt x="27461" y="6653078"/>
                </a:cubicBezTo>
                <a:lnTo>
                  <a:pt x="0" y="6641969"/>
                </a:ln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7" name="Text Placeholder 32">
            <a:extLst>
              <a:ext uri="{FF2B5EF4-FFF2-40B4-BE49-F238E27FC236}">
                <a16:creationId xmlns:a16="http://schemas.microsoft.com/office/drawing/2014/main" id="{6F618209-7319-184B-9330-FE5C9899D7C6}"/>
              </a:ext>
            </a:extLst>
          </p:cNvPr>
          <p:cNvSpPr>
            <a:spLocks noGrp="1"/>
          </p:cNvSpPr>
          <p:nvPr>
            <p:ph type="body" sz="quarter" idx="11" hasCustomPrompt="1"/>
          </p:nvPr>
        </p:nvSpPr>
        <p:spPr>
          <a:xfrm>
            <a:off x="313878" y="1218968"/>
            <a:ext cx="4867723" cy="538993"/>
          </a:xfrm>
        </p:spPr>
        <p:txBody>
          <a:bodyPr anchor="b">
            <a:normAutofit/>
          </a:bodyPr>
          <a:lstStyle>
            <a:lvl1pPr algn="l">
              <a:lnSpc>
                <a:spcPct val="100000"/>
              </a:lnSpc>
              <a:spcBef>
                <a:spcPts val="0"/>
              </a:spcBef>
              <a:spcAft>
                <a:spcPts val="600"/>
              </a:spcAft>
              <a:defRPr sz="24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38" name="Text Placeholder 32">
            <a:extLst>
              <a:ext uri="{FF2B5EF4-FFF2-40B4-BE49-F238E27FC236}">
                <a16:creationId xmlns:a16="http://schemas.microsoft.com/office/drawing/2014/main" id="{3780655F-233B-104D-AB2C-DC3E2CC6CD72}"/>
              </a:ext>
            </a:extLst>
          </p:cNvPr>
          <p:cNvSpPr>
            <a:spLocks noGrp="1"/>
          </p:cNvSpPr>
          <p:nvPr>
            <p:ph type="body" sz="quarter" idx="12" hasCustomPrompt="1"/>
          </p:nvPr>
        </p:nvSpPr>
        <p:spPr>
          <a:xfrm>
            <a:off x="313878" y="1812014"/>
            <a:ext cx="4867722" cy="4436386"/>
          </a:xfrm>
        </p:spPr>
        <p:txBody>
          <a:bodyPr anchor="t">
            <a:normAutofit/>
          </a:bodyPr>
          <a:lstStyle>
            <a:lvl1pPr algn="l">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41" name="Text Placeholder 32">
            <a:extLst>
              <a:ext uri="{FF2B5EF4-FFF2-40B4-BE49-F238E27FC236}">
                <a16:creationId xmlns:a16="http://schemas.microsoft.com/office/drawing/2014/main" id="{46D3C9DB-51C0-EE45-A495-D059B5AF6C92}"/>
              </a:ext>
            </a:extLst>
          </p:cNvPr>
          <p:cNvSpPr>
            <a:spLocks noGrp="1"/>
          </p:cNvSpPr>
          <p:nvPr>
            <p:ph type="body" sz="quarter" idx="13" hasCustomPrompt="1"/>
          </p:nvPr>
        </p:nvSpPr>
        <p:spPr>
          <a:xfrm>
            <a:off x="6008858" y="1218968"/>
            <a:ext cx="4697243" cy="538993"/>
          </a:xfrm>
        </p:spPr>
        <p:txBody>
          <a:bodyPr anchor="b">
            <a:normAutofit/>
          </a:bodyPr>
          <a:lstStyle>
            <a:lvl1pPr>
              <a:lnSpc>
                <a:spcPct val="100000"/>
              </a:lnSpc>
              <a:spcBef>
                <a:spcPts val="0"/>
              </a:spcBef>
              <a:spcAft>
                <a:spcPts val="600"/>
              </a:spcAft>
              <a:defRPr sz="24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42" name="Text Placeholder 32">
            <a:extLst>
              <a:ext uri="{FF2B5EF4-FFF2-40B4-BE49-F238E27FC236}">
                <a16:creationId xmlns:a16="http://schemas.microsoft.com/office/drawing/2014/main" id="{0C336458-66A7-D545-B342-99D3A0EC4809}"/>
              </a:ext>
            </a:extLst>
          </p:cNvPr>
          <p:cNvSpPr>
            <a:spLocks noGrp="1"/>
          </p:cNvSpPr>
          <p:nvPr>
            <p:ph type="body" sz="quarter" idx="14" hasCustomPrompt="1"/>
          </p:nvPr>
        </p:nvSpPr>
        <p:spPr>
          <a:xfrm>
            <a:off x="6008858" y="1812014"/>
            <a:ext cx="4697242" cy="4436386"/>
          </a:xfrm>
        </p:spPr>
        <p:txBody>
          <a:bodyPr anchor="t">
            <a:normAutofit/>
          </a:bodyPr>
          <a:lstStyle>
            <a:lvl1pPr>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9" name="Slide Number Placeholder 8">
            <a:extLst>
              <a:ext uri="{FF2B5EF4-FFF2-40B4-BE49-F238E27FC236}">
                <a16:creationId xmlns:a16="http://schemas.microsoft.com/office/drawing/2014/main" id="{F1E6C6B0-A601-8049-B940-4DA26B2A9443}"/>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39273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Headline">
    <p:bg>
      <p:bgPr>
        <a:solidFill>
          <a:schemeClr val="tx2"/>
        </a:solidFill>
        <a:effectLst/>
      </p:bgPr>
    </p:bg>
    <p:spTree>
      <p:nvGrpSpPr>
        <p:cNvPr id="1" name=""/>
        <p:cNvGrpSpPr/>
        <p:nvPr/>
      </p:nvGrpSpPr>
      <p:grpSpPr>
        <a:xfrm>
          <a:off x="0" y="0"/>
          <a:ext cx="0" cy="0"/>
          <a:chOff x="0" y="0"/>
          <a:chExt cx="0" cy="0"/>
        </a:xfrm>
      </p:grpSpPr>
      <p:sp>
        <p:nvSpPr>
          <p:cNvPr id="4" name="Picture Placeholder 12">
            <a:extLst>
              <a:ext uri="{FF2B5EF4-FFF2-40B4-BE49-F238E27FC236}">
                <a16:creationId xmlns:a16="http://schemas.microsoft.com/office/drawing/2014/main" id="{16F13970-574E-254F-97A8-CE705AB10F44}"/>
              </a:ext>
            </a:extLst>
          </p:cNvPr>
          <p:cNvSpPr>
            <a:spLocks noGrp="1"/>
          </p:cNvSpPr>
          <p:nvPr>
            <p:ph type="pic" sz="quarter" idx="12"/>
          </p:nvPr>
        </p:nvSpPr>
        <p:spPr>
          <a:xfrm>
            <a:off x="2106562" y="172552"/>
            <a:ext cx="7978876" cy="6512895"/>
          </a:xfrm>
          <a:custGeom>
            <a:avLst/>
            <a:gdLst>
              <a:gd name="connsiteX0" fmla="*/ 0 w 5326063"/>
              <a:gd name="connsiteY0" fmla="*/ 2663825 h 5327650"/>
              <a:gd name="connsiteX1" fmla="*/ 2663032 w 5326063"/>
              <a:gd name="connsiteY1" fmla="*/ 0 h 5327650"/>
              <a:gd name="connsiteX2" fmla="*/ 5326063 w 5326063"/>
              <a:gd name="connsiteY2" fmla="*/ 2663825 h 5327650"/>
              <a:gd name="connsiteX3" fmla="*/ 2663032 w 5326063"/>
              <a:gd name="connsiteY3" fmla="*/ 5327650 h 5327650"/>
              <a:gd name="connsiteX4" fmla="*/ 0 w 5326063"/>
              <a:gd name="connsiteY4" fmla="*/ 2663825 h 5327650"/>
              <a:gd name="connsiteX0" fmla="*/ 0 w 5326063"/>
              <a:gd name="connsiteY0" fmla="*/ 2673412 h 5337237"/>
              <a:gd name="connsiteX1" fmla="*/ 2663032 w 5326063"/>
              <a:gd name="connsiteY1" fmla="*/ 9587 h 5337237"/>
              <a:gd name="connsiteX2" fmla="*/ 5326063 w 5326063"/>
              <a:gd name="connsiteY2" fmla="*/ 2673412 h 5337237"/>
              <a:gd name="connsiteX3" fmla="*/ 2663032 w 5326063"/>
              <a:gd name="connsiteY3" fmla="*/ 5337237 h 5337237"/>
              <a:gd name="connsiteX4" fmla="*/ 0 w 5326063"/>
              <a:gd name="connsiteY4" fmla="*/ 2673412 h 5337237"/>
              <a:gd name="connsiteX0" fmla="*/ 0 w 5327307"/>
              <a:gd name="connsiteY0" fmla="*/ 2673412 h 5337237"/>
              <a:gd name="connsiteX1" fmla="*/ 2663032 w 5327307"/>
              <a:gd name="connsiteY1" fmla="*/ 9587 h 5337237"/>
              <a:gd name="connsiteX2" fmla="*/ 5326063 w 5327307"/>
              <a:gd name="connsiteY2" fmla="*/ 2673412 h 5337237"/>
              <a:gd name="connsiteX3" fmla="*/ 2663032 w 5327307"/>
              <a:gd name="connsiteY3" fmla="*/ 5337237 h 5337237"/>
              <a:gd name="connsiteX4" fmla="*/ 0 w 5327307"/>
              <a:gd name="connsiteY4" fmla="*/ 2673412 h 5337237"/>
              <a:gd name="connsiteX0" fmla="*/ 0 w 5327533"/>
              <a:gd name="connsiteY0" fmla="*/ 2673412 h 5367905"/>
              <a:gd name="connsiteX1" fmla="*/ 2663032 w 5327533"/>
              <a:gd name="connsiteY1" fmla="*/ 9587 h 5367905"/>
              <a:gd name="connsiteX2" fmla="*/ 5326063 w 5327533"/>
              <a:gd name="connsiteY2" fmla="*/ 2673412 h 5367905"/>
              <a:gd name="connsiteX3" fmla="*/ 2663032 w 5327533"/>
              <a:gd name="connsiteY3" fmla="*/ 5337237 h 5367905"/>
              <a:gd name="connsiteX4" fmla="*/ 0 w 5327533"/>
              <a:gd name="connsiteY4" fmla="*/ 2673412 h 5367905"/>
              <a:gd name="connsiteX0" fmla="*/ 122147 w 5449680"/>
              <a:gd name="connsiteY0" fmla="*/ 2677415 h 5382558"/>
              <a:gd name="connsiteX1" fmla="*/ 2785179 w 5449680"/>
              <a:gd name="connsiteY1" fmla="*/ 13590 h 5382558"/>
              <a:gd name="connsiteX2" fmla="*/ 5448210 w 5449680"/>
              <a:gd name="connsiteY2" fmla="*/ 2677415 h 5382558"/>
              <a:gd name="connsiteX3" fmla="*/ 2785179 w 5449680"/>
              <a:gd name="connsiteY3" fmla="*/ 5341240 h 5382558"/>
              <a:gd name="connsiteX4" fmla="*/ 122147 w 5449680"/>
              <a:gd name="connsiteY4" fmla="*/ 2677415 h 538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680" h="5382558">
                <a:moveTo>
                  <a:pt x="122147" y="2677415"/>
                </a:moveTo>
                <a:cubicBezTo>
                  <a:pt x="777596" y="1165359"/>
                  <a:pt x="968587" y="-148638"/>
                  <a:pt x="2785179" y="13590"/>
                </a:cubicBezTo>
                <a:cubicBezTo>
                  <a:pt x="4601771" y="175818"/>
                  <a:pt x="5392459" y="323530"/>
                  <a:pt x="5448210" y="2677415"/>
                </a:cubicBezTo>
                <a:cubicBezTo>
                  <a:pt x="5503961" y="5031300"/>
                  <a:pt x="3963142" y="5033869"/>
                  <a:pt x="2785179" y="5341240"/>
                </a:cubicBezTo>
                <a:cubicBezTo>
                  <a:pt x="1607216" y="5648611"/>
                  <a:pt x="-533302" y="4189471"/>
                  <a:pt x="122147" y="2677415"/>
                </a:cubicBezTo>
                <a:close/>
              </a:path>
            </a:pathLst>
          </a:custGeom>
          <a:solidFill>
            <a:schemeClr val="tx2"/>
          </a:solidFill>
          <a:effectLst>
            <a:outerShdw blurRad="190500" algn="ctr" rotWithShape="0">
              <a:schemeClr val="tx2">
                <a:lumMod val="50000"/>
                <a:alpha val="50000"/>
              </a:schemeClr>
            </a:outerShdw>
          </a:effectLst>
        </p:spPr>
        <p:txBody>
          <a:bodyPr/>
          <a:lstStyle/>
          <a:p>
            <a:r>
              <a:rPr lang="en-US" dirty="0"/>
              <a:t>Click icon to add picture</a:t>
            </a:r>
          </a:p>
        </p:txBody>
      </p:sp>
      <p:sp>
        <p:nvSpPr>
          <p:cNvPr id="6" name="Text Placeholder 7">
            <a:extLst>
              <a:ext uri="{FF2B5EF4-FFF2-40B4-BE49-F238E27FC236}">
                <a16:creationId xmlns:a16="http://schemas.microsoft.com/office/drawing/2014/main" id="{BFC96BB4-5AB0-724B-BE61-FE9963B1BC75}"/>
              </a:ext>
            </a:extLst>
          </p:cNvPr>
          <p:cNvSpPr>
            <a:spLocks noGrp="1"/>
          </p:cNvSpPr>
          <p:nvPr>
            <p:ph type="body" sz="quarter" idx="10" hasCustomPrompt="1"/>
          </p:nvPr>
        </p:nvSpPr>
        <p:spPr>
          <a:xfrm>
            <a:off x="735247" y="601923"/>
            <a:ext cx="5360753" cy="4288731"/>
          </a:xfrm>
        </p:spPr>
        <p:txBody>
          <a:bodyPr anchor="t">
            <a:normAutofit/>
          </a:bodyPr>
          <a:lstStyle>
            <a:lvl1pPr algn="l">
              <a:defRPr sz="6000" b="1" spc="300">
                <a:solidFill>
                  <a:schemeClr val="accent4"/>
                </a:solidFill>
              </a:defRPr>
            </a:lvl1pPr>
          </a:lstStyle>
          <a:p>
            <a:pPr lvl="0"/>
            <a:r>
              <a:rPr lang="en-US"/>
              <a:t>HEADLINE</a:t>
            </a:r>
          </a:p>
        </p:txBody>
      </p:sp>
      <p:sp>
        <p:nvSpPr>
          <p:cNvPr id="7" name="Slide Number Placeholder 8">
            <a:extLst>
              <a:ext uri="{FF2B5EF4-FFF2-40B4-BE49-F238E27FC236}">
                <a16:creationId xmlns:a16="http://schemas.microsoft.com/office/drawing/2014/main" id="{24F03AD8-487C-4B4D-B6D5-162683BD0BD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grpSp>
        <p:nvGrpSpPr>
          <p:cNvPr id="8" name="Group 7">
            <a:extLst>
              <a:ext uri="{FF2B5EF4-FFF2-40B4-BE49-F238E27FC236}">
                <a16:creationId xmlns:a16="http://schemas.microsoft.com/office/drawing/2014/main" id="{16673F8A-5EC2-6D45-9452-75D829A5D9B0}"/>
              </a:ext>
            </a:extLst>
          </p:cNvPr>
          <p:cNvGrpSpPr/>
          <p:nvPr userDrawn="1"/>
        </p:nvGrpSpPr>
        <p:grpSpPr>
          <a:xfrm>
            <a:off x="12594070" y="2514600"/>
            <a:ext cx="1972476" cy="1812102"/>
            <a:chOff x="5660044" y="-2683367"/>
            <a:chExt cx="1972476" cy="1812102"/>
          </a:xfrm>
        </p:grpSpPr>
        <p:sp>
          <p:nvSpPr>
            <p:cNvPr id="9" name="Oval 5">
              <a:extLst>
                <a:ext uri="{FF2B5EF4-FFF2-40B4-BE49-F238E27FC236}">
                  <a16:creationId xmlns:a16="http://schemas.microsoft.com/office/drawing/2014/main" id="{7FD495C7-B55A-324F-934C-8FC0AD572D29}"/>
                </a:ext>
              </a:extLst>
            </p:cNvPr>
            <p:cNvSpPr/>
            <p:nvPr userDrawn="1"/>
          </p:nvSpPr>
          <p:spPr>
            <a:xfrm>
              <a:off x="5660044" y="-2683367"/>
              <a:ext cx="1972476" cy="1812102"/>
            </a:xfrm>
            <a:custGeom>
              <a:avLst/>
              <a:gdLst>
                <a:gd name="connsiteX0" fmla="*/ 0 w 1813809"/>
                <a:gd name="connsiteY0" fmla="*/ 906905 h 1813809"/>
                <a:gd name="connsiteX1" fmla="*/ 906905 w 1813809"/>
                <a:gd name="connsiteY1" fmla="*/ 0 h 1813809"/>
                <a:gd name="connsiteX2" fmla="*/ 1813810 w 1813809"/>
                <a:gd name="connsiteY2" fmla="*/ 906905 h 1813809"/>
                <a:gd name="connsiteX3" fmla="*/ 906905 w 1813809"/>
                <a:gd name="connsiteY3" fmla="*/ 1813810 h 1813809"/>
                <a:gd name="connsiteX4" fmla="*/ 0 w 1813809"/>
                <a:gd name="connsiteY4" fmla="*/ 906905 h 1813809"/>
                <a:gd name="connsiteX0" fmla="*/ 0 w 1813810"/>
                <a:gd name="connsiteY0" fmla="*/ 906905 h 1813810"/>
                <a:gd name="connsiteX1" fmla="*/ 906905 w 1813810"/>
                <a:gd name="connsiteY1" fmla="*/ 0 h 1813810"/>
                <a:gd name="connsiteX2" fmla="*/ 1813810 w 1813810"/>
                <a:gd name="connsiteY2" fmla="*/ 906905 h 1813810"/>
                <a:gd name="connsiteX3" fmla="*/ 906905 w 1813810"/>
                <a:gd name="connsiteY3" fmla="*/ 1813810 h 1813810"/>
                <a:gd name="connsiteX4" fmla="*/ 0 w 1813810"/>
                <a:gd name="connsiteY4" fmla="*/ 906905 h 1813810"/>
                <a:gd name="connsiteX0" fmla="*/ 0 w 1816911"/>
                <a:gd name="connsiteY0" fmla="*/ 906905 h 1813810"/>
                <a:gd name="connsiteX1" fmla="*/ 906905 w 1816911"/>
                <a:gd name="connsiteY1" fmla="*/ 0 h 1813810"/>
                <a:gd name="connsiteX2" fmla="*/ 1813810 w 1816911"/>
                <a:gd name="connsiteY2" fmla="*/ 906905 h 1813810"/>
                <a:gd name="connsiteX3" fmla="*/ 906905 w 1816911"/>
                <a:gd name="connsiteY3" fmla="*/ 1813810 h 1813810"/>
                <a:gd name="connsiteX4" fmla="*/ 0 w 1816911"/>
                <a:gd name="connsiteY4" fmla="*/ 906905 h 1813810"/>
                <a:gd name="connsiteX0" fmla="*/ 7751 w 1824662"/>
                <a:gd name="connsiteY0" fmla="*/ 906905 h 1813810"/>
                <a:gd name="connsiteX1" fmla="*/ 914656 w 1824662"/>
                <a:gd name="connsiteY1" fmla="*/ 0 h 1813810"/>
                <a:gd name="connsiteX2" fmla="*/ 1821561 w 1824662"/>
                <a:gd name="connsiteY2" fmla="*/ 906905 h 1813810"/>
                <a:gd name="connsiteX3" fmla="*/ 914656 w 1824662"/>
                <a:gd name="connsiteY3" fmla="*/ 1813810 h 1813810"/>
                <a:gd name="connsiteX4" fmla="*/ 7751 w 1824662"/>
                <a:gd name="connsiteY4" fmla="*/ 906905 h 1813810"/>
                <a:gd name="connsiteX0" fmla="*/ 7751 w 1824662"/>
                <a:gd name="connsiteY0" fmla="*/ 971537 h 1878442"/>
                <a:gd name="connsiteX1" fmla="*/ 914656 w 1824662"/>
                <a:gd name="connsiteY1" fmla="*/ 64632 h 1878442"/>
                <a:gd name="connsiteX2" fmla="*/ 1821561 w 1824662"/>
                <a:gd name="connsiteY2" fmla="*/ 971537 h 1878442"/>
                <a:gd name="connsiteX3" fmla="*/ 914656 w 1824662"/>
                <a:gd name="connsiteY3" fmla="*/ 1878442 h 1878442"/>
                <a:gd name="connsiteX4" fmla="*/ 7751 w 1824662"/>
                <a:gd name="connsiteY4" fmla="*/ 971537 h 1878442"/>
                <a:gd name="connsiteX0" fmla="*/ 7751 w 1824662"/>
                <a:gd name="connsiteY0" fmla="*/ 971537 h 1966223"/>
                <a:gd name="connsiteX1" fmla="*/ 914656 w 1824662"/>
                <a:gd name="connsiteY1" fmla="*/ 64632 h 1966223"/>
                <a:gd name="connsiteX2" fmla="*/ 1821561 w 1824662"/>
                <a:gd name="connsiteY2" fmla="*/ 971537 h 1966223"/>
                <a:gd name="connsiteX3" fmla="*/ 914656 w 1824662"/>
                <a:gd name="connsiteY3" fmla="*/ 1878442 h 1966223"/>
                <a:gd name="connsiteX4" fmla="*/ 7751 w 1824662"/>
                <a:gd name="connsiteY4" fmla="*/ 971537 h 1966223"/>
                <a:gd name="connsiteX0" fmla="*/ 7751 w 1832194"/>
                <a:gd name="connsiteY0" fmla="*/ 971537 h 1966223"/>
                <a:gd name="connsiteX1" fmla="*/ 914656 w 1832194"/>
                <a:gd name="connsiteY1" fmla="*/ 64632 h 1966223"/>
                <a:gd name="connsiteX2" fmla="*/ 1821561 w 1832194"/>
                <a:gd name="connsiteY2" fmla="*/ 971537 h 1966223"/>
                <a:gd name="connsiteX3" fmla="*/ 914656 w 1832194"/>
                <a:gd name="connsiteY3" fmla="*/ 1878442 h 1966223"/>
                <a:gd name="connsiteX4" fmla="*/ 7751 w 1832194"/>
                <a:gd name="connsiteY4" fmla="*/ 971537 h 1966223"/>
                <a:gd name="connsiteX0" fmla="*/ 7751 w 1832465"/>
                <a:gd name="connsiteY0" fmla="*/ 971537 h 1898104"/>
                <a:gd name="connsiteX1" fmla="*/ 914656 w 1832465"/>
                <a:gd name="connsiteY1" fmla="*/ 64632 h 1898104"/>
                <a:gd name="connsiteX2" fmla="*/ 1821561 w 1832465"/>
                <a:gd name="connsiteY2" fmla="*/ 971537 h 1898104"/>
                <a:gd name="connsiteX3" fmla="*/ 914656 w 1832465"/>
                <a:gd name="connsiteY3" fmla="*/ 1878442 h 1898104"/>
                <a:gd name="connsiteX4" fmla="*/ 7751 w 1832465"/>
                <a:gd name="connsiteY4" fmla="*/ 971537 h 1898104"/>
                <a:gd name="connsiteX0" fmla="*/ 8411 w 1833125"/>
                <a:gd name="connsiteY0" fmla="*/ 906906 h 1833473"/>
                <a:gd name="connsiteX1" fmla="*/ 915316 w 1833125"/>
                <a:gd name="connsiteY1" fmla="*/ 1 h 1833473"/>
                <a:gd name="connsiteX2" fmla="*/ 1822221 w 1833125"/>
                <a:gd name="connsiteY2" fmla="*/ 906906 h 1833473"/>
                <a:gd name="connsiteX3" fmla="*/ 915316 w 1833125"/>
                <a:gd name="connsiteY3" fmla="*/ 1813811 h 1833473"/>
                <a:gd name="connsiteX4" fmla="*/ 8411 w 1833125"/>
                <a:gd name="connsiteY4" fmla="*/ 906906 h 1833473"/>
                <a:gd name="connsiteX0" fmla="*/ 4901 w 1976845"/>
                <a:gd name="connsiteY0" fmla="*/ 967949 h 1815523"/>
                <a:gd name="connsiteX1" fmla="*/ 1061708 w 1976845"/>
                <a:gd name="connsiteY1" fmla="*/ 1083 h 1815523"/>
                <a:gd name="connsiteX2" fmla="*/ 1968613 w 1976845"/>
                <a:gd name="connsiteY2" fmla="*/ 907988 h 1815523"/>
                <a:gd name="connsiteX3" fmla="*/ 1061708 w 1976845"/>
                <a:gd name="connsiteY3" fmla="*/ 1814893 h 1815523"/>
                <a:gd name="connsiteX4" fmla="*/ 4901 w 1976845"/>
                <a:gd name="connsiteY4" fmla="*/ 967949 h 1815523"/>
                <a:gd name="connsiteX0" fmla="*/ 23322 w 1995266"/>
                <a:gd name="connsiteY0" fmla="*/ 967949 h 1815993"/>
                <a:gd name="connsiteX1" fmla="*/ 1080129 w 1995266"/>
                <a:gd name="connsiteY1" fmla="*/ 1083 h 1815993"/>
                <a:gd name="connsiteX2" fmla="*/ 1987034 w 1995266"/>
                <a:gd name="connsiteY2" fmla="*/ 907988 h 1815993"/>
                <a:gd name="connsiteX3" fmla="*/ 1080129 w 1995266"/>
                <a:gd name="connsiteY3" fmla="*/ 1814893 h 1815993"/>
                <a:gd name="connsiteX4" fmla="*/ 23322 w 1995266"/>
                <a:gd name="connsiteY4" fmla="*/ 967949 h 1815993"/>
                <a:gd name="connsiteX0" fmla="*/ 23322 w 2007075"/>
                <a:gd name="connsiteY0" fmla="*/ 967572 h 1815616"/>
                <a:gd name="connsiteX1" fmla="*/ 1080129 w 2007075"/>
                <a:gd name="connsiteY1" fmla="*/ 706 h 1815616"/>
                <a:gd name="connsiteX2" fmla="*/ 1987034 w 2007075"/>
                <a:gd name="connsiteY2" fmla="*/ 907611 h 1815616"/>
                <a:gd name="connsiteX3" fmla="*/ 1080129 w 2007075"/>
                <a:gd name="connsiteY3" fmla="*/ 1814516 h 1815616"/>
                <a:gd name="connsiteX4" fmla="*/ 23322 w 2007075"/>
                <a:gd name="connsiteY4" fmla="*/ 967572 h 1815616"/>
                <a:gd name="connsiteX0" fmla="*/ 1579 w 1966722"/>
                <a:gd name="connsiteY0" fmla="*/ 922024 h 1769099"/>
                <a:gd name="connsiteX1" fmla="*/ 848524 w 1966722"/>
                <a:gd name="connsiteY1" fmla="*/ 129 h 1769099"/>
                <a:gd name="connsiteX2" fmla="*/ 1965291 w 1966722"/>
                <a:gd name="connsiteY2" fmla="*/ 862063 h 1769099"/>
                <a:gd name="connsiteX3" fmla="*/ 1058386 w 1966722"/>
                <a:gd name="connsiteY3" fmla="*/ 1768968 h 1769099"/>
                <a:gd name="connsiteX4" fmla="*/ 1579 w 1966722"/>
                <a:gd name="connsiteY4" fmla="*/ 922024 h 1769099"/>
                <a:gd name="connsiteX0" fmla="*/ 6240 w 1971383"/>
                <a:gd name="connsiteY0" fmla="*/ 922024 h 1769099"/>
                <a:gd name="connsiteX1" fmla="*/ 853185 w 1971383"/>
                <a:gd name="connsiteY1" fmla="*/ 129 h 1769099"/>
                <a:gd name="connsiteX2" fmla="*/ 1969952 w 1971383"/>
                <a:gd name="connsiteY2" fmla="*/ 862063 h 1769099"/>
                <a:gd name="connsiteX3" fmla="*/ 1063047 w 1971383"/>
                <a:gd name="connsiteY3" fmla="*/ 1768968 h 1769099"/>
                <a:gd name="connsiteX4" fmla="*/ 6240 w 1971383"/>
                <a:gd name="connsiteY4" fmla="*/ 922024 h 1769099"/>
                <a:gd name="connsiteX0" fmla="*/ 6240 w 1972208"/>
                <a:gd name="connsiteY0" fmla="*/ 922024 h 1903473"/>
                <a:gd name="connsiteX1" fmla="*/ 853185 w 1972208"/>
                <a:gd name="connsiteY1" fmla="*/ 129 h 1903473"/>
                <a:gd name="connsiteX2" fmla="*/ 1969952 w 1972208"/>
                <a:gd name="connsiteY2" fmla="*/ 862063 h 1903473"/>
                <a:gd name="connsiteX3" fmla="*/ 1063047 w 1972208"/>
                <a:gd name="connsiteY3" fmla="*/ 1768968 h 1903473"/>
                <a:gd name="connsiteX4" fmla="*/ 6240 w 1972208"/>
                <a:gd name="connsiteY4" fmla="*/ 922024 h 1903473"/>
                <a:gd name="connsiteX0" fmla="*/ 6240 w 1972476"/>
                <a:gd name="connsiteY0" fmla="*/ 922024 h 1812102"/>
                <a:gd name="connsiteX1" fmla="*/ 853185 w 1972476"/>
                <a:gd name="connsiteY1" fmla="*/ 129 h 1812102"/>
                <a:gd name="connsiteX2" fmla="*/ 1969952 w 1972476"/>
                <a:gd name="connsiteY2" fmla="*/ 862063 h 1812102"/>
                <a:gd name="connsiteX3" fmla="*/ 1063047 w 1972476"/>
                <a:gd name="connsiteY3" fmla="*/ 1768968 h 1812102"/>
                <a:gd name="connsiteX4" fmla="*/ 6240 w 1972476"/>
                <a:gd name="connsiteY4" fmla="*/ 922024 h 18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476" h="1812102">
                  <a:moveTo>
                    <a:pt x="6240" y="922024"/>
                  </a:moveTo>
                  <a:cubicBezTo>
                    <a:pt x="-28737" y="627218"/>
                    <a:pt x="61205" y="10122"/>
                    <a:pt x="853185" y="129"/>
                  </a:cubicBezTo>
                  <a:cubicBezTo>
                    <a:pt x="1645165" y="-9864"/>
                    <a:pt x="1934975" y="567257"/>
                    <a:pt x="1969952" y="862063"/>
                  </a:cubicBezTo>
                  <a:cubicBezTo>
                    <a:pt x="2004929" y="1156869"/>
                    <a:pt x="1675145" y="1534122"/>
                    <a:pt x="1063047" y="1768968"/>
                  </a:cubicBezTo>
                  <a:cubicBezTo>
                    <a:pt x="450949" y="2003814"/>
                    <a:pt x="41217" y="1216830"/>
                    <a:pt x="6240" y="9220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5">
              <a:extLst>
                <a:ext uri="{FF2B5EF4-FFF2-40B4-BE49-F238E27FC236}">
                  <a16:creationId xmlns:a16="http://schemas.microsoft.com/office/drawing/2014/main" id="{7B44B07A-7C08-2B4A-B1EC-CCA01E68C44A}"/>
                </a:ext>
              </a:extLst>
            </p:cNvPr>
            <p:cNvSpPr/>
            <p:nvPr userDrawn="1"/>
          </p:nvSpPr>
          <p:spPr>
            <a:xfrm>
              <a:off x="5905307" y="-2458046"/>
              <a:ext cx="1481950" cy="1361459"/>
            </a:xfrm>
            <a:custGeom>
              <a:avLst/>
              <a:gdLst>
                <a:gd name="connsiteX0" fmla="*/ 0 w 1813809"/>
                <a:gd name="connsiteY0" fmla="*/ 906905 h 1813809"/>
                <a:gd name="connsiteX1" fmla="*/ 906905 w 1813809"/>
                <a:gd name="connsiteY1" fmla="*/ 0 h 1813809"/>
                <a:gd name="connsiteX2" fmla="*/ 1813810 w 1813809"/>
                <a:gd name="connsiteY2" fmla="*/ 906905 h 1813809"/>
                <a:gd name="connsiteX3" fmla="*/ 906905 w 1813809"/>
                <a:gd name="connsiteY3" fmla="*/ 1813810 h 1813809"/>
                <a:gd name="connsiteX4" fmla="*/ 0 w 1813809"/>
                <a:gd name="connsiteY4" fmla="*/ 906905 h 1813809"/>
                <a:gd name="connsiteX0" fmla="*/ 0 w 1813810"/>
                <a:gd name="connsiteY0" fmla="*/ 906905 h 1813810"/>
                <a:gd name="connsiteX1" fmla="*/ 906905 w 1813810"/>
                <a:gd name="connsiteY1" fmla="*/ 0 h 1813810"/>
                <a:gd name="connsiteX2" fmla="*/ 1813810 w 1813810"/>
                <a:gd name="connsiteY2" fmla="*/ 906905 h 1813810"/>
                <a:gd name="connsiteX3" fmla="*/ 906905 w 1813810"/>
                <a:gd name="connsiteY3" fmla="*/ 1813810 h 1813810"/>
                <a:gd name="connsiteX4" fmla="*/ 0 w 1813810"/>
                <a:gd name="connsiteY4" fmla="*/ 906905 h 1813810"/>
                <a:gd name="connsiteX0" fmla="*/ 0 w 1816911"/>
                <a:gd name="connsiteY0" fmla="*/ 906905 h 1813810"/>
                <a:gd name="connsiteX1" fmla="*/ 906905 w 1816911"/>
                <a:gd name="connsiteY1" fmla="*/ 0 h 1813810"/>
                <a:gd name="connsiteX2" fmla="*/ 1813810 w 1816911"/>
                <a:gd name="connsiteY2" fmla="*/ 906905 h 1813810"/>
                <a:gd name="connsiteX3" fmla="*/ 906905 w 1816911"/>
                <a:gd name="connsiteY3" fmla="*/ 1813810 h 1813810"/>
                <a:gd name="connsiteX4" fmla="*/ 0 w 1816911"/>
                <a:gd name="connsiteY4" fmla="*/ 906905 h 1813810"/>
                <a:gd name="connsiteX0" fmla="*/ 7751 w 1824662"/>
                <a:gd name="connsiteY0" fmla="*/ 906905 h 1813810"/>
                <a:gd name="connsiteX1" fmla="*/ 914656 w 1824662"/>
                <a:gd name="connsiteY1" fmla="*/ 0 h 1813810"/>
                <a:gd name="connsiteX2" fmla="*/ 1821561 w 1824662"/>
                <a:gd name="connsiteY2" fmla="*/ 906905 h 1813810"/>
                <a:gd name="connsiteX3" fmla="*/ 914656 w 1824662"/>
                <a:gd name="connsiteY3" fmla="*/ 1813810 h 1813810"/>
                <a:gd name="connsiteX4" fmla="*/ 7751 w 1824662"/>
                <a:gd name="connsiteY4" fmla="*/ 906905 h 1813810"/>
                <a:gd name="connsiteX0" fmla="*/ 7751 w 1824662"/>
                <a:gd name="connsiteY0" fmla="*/ 971537 h 1878442"/>
                <a:gd name="connsiteX1" fmla="*/ 914656 w 1824662"/>
                <a:gd name="connsiteY1" fmla="*/ 64632 h 1878442"/>
                <a:gd name="connsiteX2" fmla="*/ 1821561 w 1824662"/>
                <a:gd name="connsiteY2" fmla="*/ 971537 h 1878442"/>
                <a:gd name="connsiteX3" fmla="*/ 914656 w 1824662"/>
                <a:gd name="connsiteY3" fmla="*/ 1878442 h 1878442"/>
                <a:gd name="connsiteX4" fmla="*/ 7751 w 1824662"/>
                <a:gd name="connsiteY4" fmla="*/ 971537 h 1878442"/>
                <a:gd name="connsiteX0" fmla="*/ 7751 w 1824662"/>
                <a:gd name="connsiteY0" fmla="*/ 971537 h 1966223"/>
                <a:gd name="connsiteX1" fmla="*/ 914656 w 1824662"/>
                <a:gd name="connsiteY1" fmla="*/ 64632 h 1966223"/>
                <a:gd name="connsiteX2" fmla="*/ 1821561 w 1824662"/>
                <a:gd name="connsiteY2" fmla="*/ 971537 h 1966223"/>
                <a:gd name="connsiteX3" fmla="*/ 914656 w 1824662"/>
                <a:gd name="connsiteY3" fmla="*/ 1878442 h 1966223"/>
                <a:gd name="connsiteX4" fmla="*/ 7751 w 1824662"/>
                <a:gd name="connsiteY4" fmla="*/ 971537 h 1966223"/>
                <a:gd name="connsiteX0" fmla="*/ 7751 w 1832194"/>
                <a:gd name="connsiteY0" fmla="*/ 971537 h 1966223"/>
                <a:gd name="connsiteX1" fmla="*/ 914656 w 1832194"/>
                <a:gd name="connsiteY1" fmla="*/ 64632 h 1966223"/>
                <a:gd name="connsiteX2" fmla="*/ 1821561 w 1832194"/>
                <a:gd name="connsiteY2" fmla="*/ 971537 h 1966223"/>
                <a:gd name="connsiteX3" fmla="*/ 914656 w 1832194"/>
                <a:gd name="connsiteY3" fmla="*/ 1878442 h 1966223"/>
                <a:gd name="connsiteX4" fmla="*/ 7751 w 1832194"/>
                <a:gd name="connsiteY4" fmla="*/ 971537 h 1966223"/>
                <a:gd name="connsiteX0" fmla="*/ 7751 w 1832465"/>
                <a:gd name="connsiteY0" fmla="*/ 971537 h 1898104"/>
                <a:gd name="connsiteX1" fmla="*/ 914656 w 1832465"/>
                <a:gd name="connsiteY1" fmla="*/ 64632 h 1898104"/>
                <a:gd name="connsiteX2" fmla="*/ 1821561 w 1832465"/>
                <a:gd name="connsiteY2" fmla="*/ 971537 h 1898104"/>
                <a:gd name="connsiteX3" fmla="*/ 914656 w 1832465"/>
                <a:gd name="connsiteY3" fmla="*/ 1878442 h 1898104"/>
                <a:gd name="connsiteX4" fmla="*/ 7751 w 1832465"/>
                <a:gd name="connsiteY4" fmla="*/ 971537 h 1898104"/>
                <a:gd name="connsiteX0" fmla="*/ 8411 w 1833125"/>
                <a:gd name="connsiteY0" fmla="*/ 906906 h 1833473"/>
                <a:gd name="connsiteX1" fmla="*/ 915316 w 1833125"/>
                <a:gd name="connsiteY1" fmla="*/ 1 h 1833473"/>
                <a:gd name="connsiteX2" fmla="*/ 1822221 w 1833125"/>
                <a:gd name="connsiteY2" fmla="*/ 906906 h 1833473"/>
                <a:gd name="connsiteX3" fmla="*/ 915316 w 1833125"/>
                <a:gd name="connsiteY3" fmla="*/ 1813811 h 1833473"/>
                <a:gd name="connsiteX4" fmla="*/ 8411 w 1833125"/>
                <a:gd name="connsiteY4" fmla="*/ 906906 h 1833473"/>
                <a:gd name="connsiteX0" fmla="*/ 4901 w 1976845"/>
                <a:gd name="connsiteY0" fmla="*/ 967949 h 1815523"/>
                <a:gd name="connsiteX1" fmla="*/ 1061708 w 1976845"/>
                <a:gd name="connsiteY1" fmla="*/ 1083 h 1815523"/>
                <a:gd name="connsiteX2" fmla="*/ 1968613 w 1976845"/>
                <a:gd name="connsiteY2" fmla="*/ 907988 h 1815523"/>
                <a:gd name="connsiteX3" fmla="*/ 1061708 w 1976845"/>
                <a:gd name="connsiteY3" fmla="*/ 1814893 h 1815523"/>
                <a:gd name="connsiteX4" fmla="*/ 4901 w 1976845"/>
                <a:gd name="connsiteY4" fmla="*/ 967949 h 1815523"/>
                <a:gd name="connsiteX0" fmla="*/ 23322 w 1995266"/>
                <a:gd name="connsiteY0" fmla="*/ 967949 h 1815993"/>
                <a:gd name="connsiteX1" fmla="*/ 1080129 w 1995266"/>
                <a:gd name="connsiteY1" fmla="*/ 1083 h 1815993"/>
                <a:gd name="connsiteX2" fmla="*/ 1987034 w 1995266"/>
                <a:gd name="connsiteY2" fmla="*/ 907988 h 1815993"/>
                <a:gd name="connsiteX3" fmla="*/ 1080129 w 1995266"/>
                <a:gd name="connsiteY3" fmla="*/ 1814893 h 1815993"/>
                <a:gd name="connsiteX4" fmla="*/ 23322 w 1995266"/>
                <a:gd name="connsiteY4" fmla="*/ 967949 h 1815993"/>
                <a:gd name="connsiteX0" fmla="*/ 23322 w 2007075"/>
                <a:gd name="connsiteY0" fmla="*/ 967572 h 1815616"/>
                <a:gd name="connsiteX1" fmla="*/ 1080129 w 2007075"/>
                <a:gd name="connsiteY1" fmla="*/ 706 h 1815616"/>
                <a:gd name="connsiteX2" fmla="*/ 1987034 w 2007075"/>
                <a:gd name="connsiteY2" fmla="*/ 907611 h 1815616"/>
                <a:gd name="connsiteX3" fmla="*/ 1080129 w 2007075"/>
                <a:gd name="connsiteY3" fmla="*/ 1814516 h 1815616"/>
                <a:gd name="connsiteX4" fmla="*/ 23322 w 2007075"/>
                <a:gd name="connsiteY4" fmla="*/ 967572 h 1815616"/>
                <a:gd name="connsiteX0" fmla="*/ 1579 w 1966722"/>
                <a:gd name="connsiteY0" fmla="*/ 922024 h 1769099"/>
                <a:gd name="connsiteX1" fmla="*/ 848524 w 1966722"/>
                <a:gd name="connsiteY1" fmla="*/ 129 h 1769099"/>
                <a:gd name="connsiteX2" fmla="*/ 1965291 w 1966722"/>
                <a:gd name="connsiteY2" fmla="*/ 862063 h 1769099"/>
                <a:gd name="connsiteX3" fmla="*/ 1058386 w 1966722"/>
                <a:gd name="connsiteY3" fmla="*/ 1768968 h 1769099"/>
                <a:gd name="connsiteX4" fmla="*/ 1579 w 1966722"/>
                <a:gd name="connsiteY4" fmla="*/ 922024 h 1769099"/>
                <a:gd name="connsiteX0" fmla="*/ 6240 w 1971383"/>
                <a:gd name="connsiteY0" fmla="*/ 922024 h 1769099"/>
                <a:gd name="connsiteX1" fmla="*/ 853185 w 1971383"/>
                <a:gd name="connsiteY1" fmla="*/ 129 h 1769099"/>
                <a:gd name="connsiteX2" fmla="*/ 1969952 w 1971383"/>
                <a:gd name="connsiteY2" fmla="*/ 862063 h 1769099"/>
                <a:gd name="connsiteX3" fmla="*/ 1063047 w 1971383"/>
                <a:gd name="connsiteY3" fmla="*/ 1768968 h 1769099"/>
                <a:gd name="connsiteX4" fmla="*/ 6240 w 1971383"/>
                <a:gd name="connsiteY4" fmla="*/ 922024 h 1769099"/>
                <a:gd name="connsiteX0" fmla="*/ 6240 w 1972208"/>
                <a:gd name="connsiteY0" fmla="*/ 922024 h 1903473"/>
                <a:gd name="connsiteX1" fmla="*/ 853185 w 1972208"/>
                <a:gd name="connsiteY1" fmla="*/ 129 h 1903473"/>
                <a:gd name="connsiteX2" fmla="*/ 1969952 w 1972208"/>
                <a:gd name="connsiteY2" fmla="*/ 862063 h 1903473"/>
                <a:gd name="connsiteX3" fmla="*/ 1063047 w 1972208"/>
                <a:gd name="connsiteY3" fmla="*/ 1768968 h 1903473"/>
                <a:gd name="connsiteX4" fmla="*/ 6240 w 1972208"/>
                <a:gd name="connsiteY4" fmla="*/ 922024 h 1903473"/>
                <a:gd name="connsiteX0" fmla="*/ 6240 w 1972476"/>
                <a:gd name="connsiteY0" fmla="*/ 922024 h 1812102"/>
                <a:gd name="connsiteX1" fmla="*/ 853185 w 1972476"/>
                <a:gd name="connsiteY1" fmla="*/ 129 h 1812102"/>
                <a:gd name="connsiteX2" fmla="*/ 1969952 w 1972476"/>
                <a:gd name="connsiteY2" fmla="*/ 862063 h 1812102"/>
                <a:gd name="connsiteX3" fmla="*/ 1063047 w 1972476"/>
                <a:gd name="connsiteY3" fmla="*/ 1768968 h 1812102"/>
                <a:gd name="connsiteX4" fmla="*/ 6240 w 1972476"/>
                <a:gd name="connsiteY4" fmla="*/ 922024 h 18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476" h="1812102">
                  <a:moveTo>
                    <a:pt x="6240" y="922024"/>
                  </a:moveTo>
                  <a:cubicBezTo>
                    <a:pt x="-28737" y="627218"/>
                    <a:pt x="61205" y="10122"/>
                    <a:pt x="853185" y="129"/>
                  </a:cubicBezTo>
                  <a:cubicBezTo>
                    <a:pt x="1645165" y="-9864"/>
                    <a:pt x="1934975" y="567257"/>
                    <a:pt x="1969952" y="862063"/>
                  </a:cubicBezTo>
                  <a:cubicBezTo>
                    <a:pt x="2004929" y="1156869"/>
                    <a:pt x="1675145" y="1534122"/>
                    <a:pt x="1063047" y="1768968"/>
                  </a:cubicBezTo>
                  <a:cubicBezTo>
                    <a:pt x="450949" y="2003814"/>
                    <a:pt x="41217" y="1216830"/>
                    <a:pt x="6240" y="922024"/>
                  </a:cubicBez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riangle 10">
              <a:extLst>
                <a:ext uri="{FF2B5EF4-FFF2-40B4-BE49-F238E27FC236}">
                  <a16:creationId xmlns:a16="http://schemas.microsoft.com/office/drawing/2014/main" id="{CA192D43-DB43-B347-B247-19096253C4F6}"/>
                </a:ext>
              </a:extLst>
            </p:cNvPr>
            <p:cNvSpPr/>
            <p:nvPr userDrawn="1"/>
          </p:nvSpPr>
          <p:spPr>
            <a:xfrm rot="5400000">
              <a:off x="6327741" y="-2084615"/>
              <a:ext cx="667063" cy="58461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Rectangle 11">
            <a:extLst>
              <a:ext uri="{FF2B5EF4-FFF2-40B4-BE49-F238E27FC236}">
                <a16:creationId xmlns:a16="http://schemas.microsoft.com/office/drawing/2014/main" id="{0C692D20-59DC-274B-B23C-68E4B82F2232}"/>
              </a:ext>
            </a:extLst>
          </p:cNvPr>
          <p:cNvSpPr/>
          <p:nvPr userDrawn="1"/>
        </p:nvSpPr>
        <p:spPr>
          <a:xfrm>
            <a:off x="12594070" y="4538365"/>
            <a:ext cx="6096000" cy="646331"/>
          </a:xfrm>
          <a:prstGeom prst="rect">
            <a:avLst/>
          </a:prstGeom>
        </p:spPr>
        <p:txBody>
          <a:bodyPr>
            <a:spAutoFit/>
          </a:bodyPr>
          <a:lstStyle/>
          <a:p>
            <a:pPr lvl="0"/>
            <a:r>
              <a:rPr lang="en-US" dirty="0"/>
              <a:t>Please copy the play button from Master Layout to slide and add video hyperlink (right click &gt; Hyperlink…)</a:t>
            </a:r>
          </a:p>
        </p:txBody>
      </p:sp>
    </p:spTree>
    <p:extLst>
      <p:ext uri="{BB962C8B-B14F-4D97-AF65-F5344CB8AC3E}">
        <p14:creationId xmlns:p14="http://schemas.microsoft.com/office/powerpoint/2010/main" val="6031505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 Double Header &amp; Copy">
    <p:bg>
      <p:bgPr>
        <a:solidFill>
          <a:schemeClr val="tx2"/>
        </a:solidFill>
        <a:effectLst/>
      </p:bgPr>
    </p:bg>
    <p:spTree>
      <p:nvGrpSpPr>
        <p:cNvPr id="1" name=""/>
        <p:cNvGrpSpPr/>
        <p:nvPr/>
      </p:nvGrpSpPr>
      <p:grpSpPr>
        <a:xfrm>
          <a:off x="0" y="0"/>
          <a:ext cx="0" cy="0"/>
          <a:chOff x="0" y="0"/>
          <a:chExt cx="0" cy="0"/>
        </a:xfrm>
      </p:grpSpPr>
      <p:sp>
        <p:nvSpPr>
          <p:cNvPr id="13" name="Shape">
            <a:extLst>
              <a:ext uri="{FF2B5EF4-FFF2-40B4-BE49-F238E27FC236}">
                <a16:creationId xmlns:a16="http://schemas.microsoft.com/office/drawing/2014/main" id="{A5E78290-0A3D-9541-9B2E-F24E293233B6}"/>
              </a:ext>
            </a:extLst>
          </p:cNvPr>
          <p:cNvSpPr/>
          <p:nvPr userDrawn="1"/>
        </p:nvSpPr>
        <p:spPr>
          <a:xfrm>
            <a:off x="-24823" y="-3175"/>
            <a:ext cx="12210568" cy="6861175"/>
          </a:xfrm>
          <a:custGeom>
            <a:avLst/>
            <a:gdLst>
              <a:gd name="connsiteX0" fmla="*/ 18806 w 21600"/>
              <a:gd name="connsiteY0" fmla="*/ 0 h 21600"/>
              <a:gd name="connsiteX1" fmla="*/ 16008 w 21600"/>
              <a:gd name="connsiteY1" fmla="*/ 4498 h 21600"/>
              <a:gd name="connsiteX2" fmla="*/ 13141 w 21600"/>
              <a:gd name="connsiteY2" fmla="*/ 12620 h 21600"/>
              <a:gd name="connsiteX3" fmla="*/ 1929 w 21600"/>
              <a:gd name="connsiteY3" fmla="*/ 14792 h 21600"/>
              <a:gd name="connsiteX4" fmla="*/ 4 w 21600"/>
              <a:gd name="connsiteY4" fmla="*/ 18162 h 21600"/>
              <a:gd name="connsiteX5" fmla="*/ 0 w 21600"/>
              <a:gd name="connsiteY5" fmla="*/ 21581 h 21600"/>
              <a:gd name="connsiteX6" fmla="*/ 21593 w 21600"/>
              <a:gd name="connsiteY6" fmla="*/ 21594 h 21600"/>
              <a:gd name="connsiteX7" fmla="*/ 21597 w 21600"/>
              <a:gd name="connsiteY7" fmla="*/ 21597 h 21600"/>
              <a:gd name="connsiteX8" fmla="*/ 21600 w 21600"/>
              <a:gd name="connsiteY8" fmla="*/ 21600 h 21600"/>
              <a:gd name="connsiteX9" fmla="*/ 21600 w 21600"/>
              <a:gd name="connsiteY9" fmla="*/ 0 h 21600"/>
              <a:gd name="connsiteX10" fmla="*/ 18806 w 21600"/>
              <a:gd name="connsiteY10" fmla="*/ 0 h 21600"/>
              <a:gd name="connsiteX0" fmla="*/ 18806 w 21600"/>
              <a:gd name="connsiteY0" fmla="*/ 0 h 21600"/>
              <a:gd name="connsiteX1" fmla="*/ 16008 w 21600"/>
              <a:gd name="connsiteY1" fmla="*/ 4498 h 21600"/>
              <a:gd name="connsiteX2" fmla="*/ 13117 w 21600"/>
              <a:gd name="connsiteY2" fmla="*/ 12916 h 21600"/>
              <a:gd name="connsiteX3" fmla="*/ 1929 w 21600"/>
              <a:gd name="connsiteY3" fmla="*/ 14792 h 21600"/>
              <a:gd name="connsiteX4" fmla="*/ 4 w 21600"/>
              <a:gd name="connsiteY4" fmla="*/ 18162 h 21600"/>
              <a:gd name="connsiteX5" fmla="*/ 0 w 21600"/>
              <a:gd name="connsiteY5" fmla="*/ 21581 h 21600"/>
              <a:gd name="connsiteX6" fmla="*/ 21593 w 21600"/>
              <a:gd name="connsiteY6" fmla="*/ 21594 h 21600"/>
              <a:gd name="connsiteX7" fmla="*/ 21597 w 21600"/>
              <a:gd name="connsiteY7" fmla="*/ 21597 h 21600"/>
              <a:gd name="connsiteX8" fmla="*/ 21600 w 21600"/>
              <a:gd name="connsiteY8" fmla="*/ 21600 h 21600"/>
              <a:gd name="connsiteX9" fmla="*/ 21600 w 21600"/>
              <a:gd name="connsiteY9" fmla="*/ 0 h 21600"/>
              <a:gd name="connsiteX10" fmla="*/ 18806 w 21600"/>
              <a:gd name="connsiteY10" fmla="*/ 0 h 21600"/>
              <a:gd name="connsiteX0" fmla="*/ 18806 w 21600"/>
              <a:gd name="connsiteY0" fmla="*/ 0 h 21600"/>
              <a:gd name="connsiteX1" fmla="*/ 16008 w 21600"/>
              <a:gd name="connsiteY1" fmla="*/ 4498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6008 w 21600"/>
              <a:gd name="connsiteY1" fmla="*/ 4498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50 w 21644"/>
              <a:gd name="connsiteY0" fmla="*/ 0 h 21600"/>
              <a:gd name="connsiteX1" fmla="*/ 16028 w 21644"/>
              <a:gd name="connsiteY1" fmla="*/ 3905 h 21600"/>
              <a:gd name="connsiteX2" fmla="*/ 13137 w 21644"/>
              <a:gd name="connsiteY2" fmla="*/ 13805 h 21600"/>
              <a:gd name="connsiteX3" fmla="*/ 0 w 21644"/>
              <a:gd name="connsiteY3" fmla="*/ 16765 h 21600"/>
              <a:gd name="connsiteX4" fmla="*/ 44 w 21644"/>
              <a:gd name="connsiteY4" fmla="*/ 21581 h 21600"/>
              <a:gd name="connsiteX5" fmla="*/ 21637 w 21644"/>
              <a:gd name="connsiteY5" fmla="*/ 21594 h 21600"/>
              <a:gd name="connsiteX6" fmla="*/ 21641 w 21644"/>
              <a:gd name="connsiteY6" fmla="*/ 21597 h 21600"/>
              <a:gd name="connsiteX7" fmla="*/ 21644 w 21644"/>
              <a:gd name="connsiteY7" fmla="*/ 21600 h 21600"/>
              <a:gd name="connsiteX8" fmla="*/ 21644 w 21644"/>
              <a:gd name="connsiteY8" fmla="*/ 0 h 21600"/>
              <a:gd name="connsiteX9" fmla="*/ 18850 w 21644"/>
              <a:gd name="connsiteY9"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44" h="21600" extrusionOk="0">
                <a:moveTo>
                  <a:pt x="18850" y="0"/>
                </a:moveTo>
                <a:cubicBezTo>
                  <a:pt x="17831" y="462"/>
                  <a:pt x="16742" y="1265"/>
                  <a:pt x="16028" y="3905"/>
                </a:cubicBezTo>
                <a:cubicBezTo>
                  <a:pt x="15314" y="6545"/>
                  <a:pt x="15808" y="11662"/>
                  <a:pt x="13137" y="13805"/>
                </a:cubicBezTo>
                <a:cubicBezTo>
                  <a:pt x="10466" y="15948"/>
                  <a:pt x="1137" y="8802"/>
                  <a:pt x="0" y="16765"/>
                </a:cubicBezTo>
                <a:cubicBezTo>
                  <a:pt x="-1" y="17905"/>
                  <a:pt x="45" y="20441"/>
                  <a:pt x="44" y="21581"/>
                </a:cubicBezTo>
                <a:lnTo>
                  <a:pt x="21637" y="21594"/>
                </a:lnTo>
                <a:cubicBezTo>
                  <a:pt x="21638" y="21595"/>
                  <a:pt x="21640" y="21596"/>
                  <a:pt x="21641" y="21597"/>
                </a:cubicBezTo>
                <a:lnTo>
                  <a:pt x="21644" y="21600"/>
                </a:lnTo>
                <a:lnTo>
                  <a:pt x="21644" y="0"/>
                </a:lnTo>
                <a:lnTo>
                  <a:pt x="18850" y="0"/>
                </a:lnTo>
                <a:close/>
              </a:path>
            </a:pathLst>
          </a:custGeom>
          <a:solidFill>
            <a:schemeClr val="bg2"/>
          </a:solidFill>
          <a:ln w="12700">
            <a:miter lim="400000"/>
          </a:ln>
          <a:effectLst>
            <a:outerShdw blurRad="127000" dist="38100" dir="13500000" algn="br" rotWithShape="0">
              <a:schemeClr val="tx2">
                <a:lumMod val="75000"/>
                <a:alpha val="50000"/>
              </a:schemeClr>
            </a:outerShdw>
          </a:effectLst>
        </p:spPr>
        <p:txBody>
          <a:bodyPr lIns="50800" tIns="50800" rIns="50800" bIns="50800" anchor="ctr"/>
          <a:lstStyle/>
          <a:p>
            <a:pPr algn="ctr" eaLnBrk="1" fontAlgn="auto">
              <a:spcBef>
                <a:spcPts val="0"/>
              </a:spcBef>
              <a:spcAft>
                <a:spcPts val="0"/>
              </a:spcAft>
              <a:defRPr>
                <a:solidFill>
                  <a:srgbClr val="FFFFFF"/>
                </a:solidFill>
              </a:defRPr>
            </a:pPr>
            <a:endParaRPr kern="0" dirty="0">
              <a:solidFill>
                <a:srgbClr val="FFFFFF"/>
              </a:solidFill>
              <a:latin typeface="+mn-lt"/>
              <a:ea typeface="+mn-ea"/>
              <a:cs typeface="+mn-cs"/>
              <a:sym typeface="Helvetica Neue Light"/>
            </a:endParaRPr>
          </a:p>
        </p:txBody>
      </p:sp>
      <p:sp>
        <p:nvSpPr>
          <p:cNvPr id="7" name="Text Placeholder 32">
            <a:extLst>
              <a:ext uri="{FF2B5EF4-FFF2-40B4-BE49-F238E27FC236}">
                <a16:creationId xmlns:a16="http://schemas.microsoft.com/office/drawing/2014/main" id="{3F00CF82-11FA-9D40-AA48-2D62362B6A74}"/>
              </a:ext>
            </a:extLst>
          </p:cNvPr>
          <p:cNvSpPr>
            <a:spLocks noGrp="1"/>
          </p:cNvSpPr>
          <p:nvPr>
            <p:ph type="body" sz="quarter" idx="12" hasCustomPrompt="1"/>
          </p:nvPr>
        </p:nvSpPr>
        <p:spPr>
          <a:xfrm>
            <a:off x="315000" y="544598"/>
            <a:ext cx="9438600" cy="702400"/>
          </a:xfrm>
        </p:spPr>
        <p:txBody>
          <a:bodyPr anchor="t">
            <a:normAutofit/>
          </a:bodyPr>
          <a:lstStyle>
            <a:lvl1pPr algn="l">
              <a:lnSpc>
                <a:spcPct val="100000"/>
              </a:lnSpc>
              <a:spcBef>
                <a:spcPts val="0"/>
              </a:spcBef>
              <a:spcAft>
                <a:spcPts val="600"/>
              </a:spcAft>
              <a:defRPr sz="40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8" name="Text Placeholder 32">
            <a:extLst>
              <a:ext uri="{FF2B5EF4-FFF2-40B4-BE49-F238E27FC236}">
                <a16:creationId xmlns:a16="http://schemas.microsoft.com/office/drawing/2014/main" id="{2C46D393-67F9-5E40-B3CC-D29B4F220F84}"/>
              </a:ext>
            </a:extLst>
          </p:cNvPr>
          <p:cNvSpPr>
            <a:spLocks noGrp="1"/>
          </p:cNvSpPr>
          <p:nvPr>
            <p:ph type="body" sz="quarter" idx="14" hasCustomPrompt="1"/>
          </p:nvPr>
        </p:nvSpPr>
        <p:spPr>
          <a:xfrm>
            <a:off x="315000" y="1157731"/>
            <a:ext cx="5412931" cy="2889833"/>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9" name="Shape">
            <a:extLst>
              <a:ext uri="{FF2B5EF4-FFF2-40B4-BE49-F238E27FC236}">
                <a16:creationId xmlns:a16="http://schemas.microsoft.com/office/drawing/2014/main" id="{BE429DD6-0CAC-1343-BB4D-E98A12B20325}"/>
              </a:ext>
            </a:extLst>
          </p:cNvPr>
          <p:cNvSpPr>
            <a:spLocks/>
          </p:cNvSpPr>
          <p:nvPr userDrawn="1"/>
        </p:nvSpPr>
        <p:spPr bwMode="auto">
          <a:xfrm rot="10800000">
            <a:off x="6157712" y="1157732"/>
            <a:ext cx="5321542" cy="4959350"/>
          </a:xfrm>
          <a:custGeom>
            <a:avLst/>
            <a:gdLst>
              <a:gd name="T0" fmla="*/ 6146445 w 21600"/>
              <a:gd name="T1" fmla="*/ 5727383 h 21560"/>
              <a:gd name="T2" fmla="*/ 6146445 w 21600"/>
              <a:gd name="T3" fmla="*/ 5727383 h 21560"/>
              <a:gd name="T4" fmla="*/ 6146445 w 21600"/>
              <a:gd name="T5" fmla="*/ 5727383 h 21560"/>
              <a:gd name="T6" fmla="*/ 6146445 w 21600"/>
              <a:gd name="T7" fmla="*/ 5727383 h 2156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60" extrusionOk="0">
                <a:moveTo>
                  <a:pt x="10614" y="2"/>
                </a:moveTo>
                <a:cubicBezTo>
                  <a:pt x="8214" y="42"/>
                  <a:pt x="5807" y="840"/>
                  <a:pt x="3797" y="2490"/>
                </a:cubicBezTo>
                <a:cubicBezTo>
                  <a:pt x="2726" y="3370"/>
                  <a:pt x="1830" y="4470"/>
                  <a:pt x="1160" y="5725"/>
                </a:cubicBezTo>
                <a:cubicBezTo>
                  <a:pt x="387" y="7027"/>
                  <a:pt x="0" y="8510"/>
                  <a:pt x="0" y="9992"/>
                </a:cubicBezTo>
                <a:cubicBezTo>
                  <a:pt x="0" y="11475"/>
                  <a:pt x="387" y="12957"/>
                  <a:pt x="1160" y="14259"/>
                </a:cubicBezTo>
                <a:cubicBezTo>
                  <a:pt x="1948" y="15512"/>
                  <a:pt x="3019" y="16659"/>
                  <a:pt x="3797" y="17493"/>
                </a:cubicBezTo>
                <a:cubicBezTo>
                  <a:pt x="4575" y="18326"/>
                  <a:pt x="5646" y="19473"/>
                  <a:pt x="6816" y="20317"/>
                </a:cubicBezTo>
                <a:cubicBezTo>
                  <a:pt x="8031" y="21146"/>
                  <a:pt x="9415" y="21560"/>
                  <a:pt x="10799" y="21560"/>
                </a:cubicBezTo>
                <a:cubicBezTo>
                  <a:pt x="12183" y="21560"/>
                  <a:pt x="13567" y="21146"/>
                  <a:pt x="14783" y="20317"/>
                </a:cubicBezTo>
                <a:cubicBezTo>
                  <a:pt x="15952" y="19473"/>
                  <a:pt x="17025" y="18326"/>
                  <a:pt x="17803" y="17493"/>
                </a:cubicBezTo>
                <a:cubicBezTo>
                  <a:pt x="18581" y="16659"/>
                  <a:pt x="19652" y="15512"/>
                  <a:pt x="20440" y="14259"/>
                </a:cubicBezTo>
                <a:cubicBezTo>
                  <a:pt x="21213" y="12957"/>
                  <a:pt x="21600" y="11475"/>
                  <a:pt x="21600" y="9992"/>
                </a:cubicBezTo>
                <a:cubicBezTo>
                  <a:pt x="21600" y="8510"/>
                  <a:pt x="21213" y="7027"/>
                  <a:pt x="20440" y="5725"/>
                </a:cubicBezTo>
                <a:cubicBezTo>
                  <a:pt x="19770" y="4470"/>
                  <a:pt x="18874" y="3370"/>
                  <a:pt x="17803" y="2490"/>
                </a:cubicBezTo>
                <a:cubicBezTo>
                  <a:pt x="15690" y="754"/>
                  <a:pt x="13139" y="-40"/>
                  <a:pt x="10614" y="2"/>
                </a:cubicBezTo>
                <a:close/>
              </a:path>
            </a:pathLst>
          </a:custGeom>
          <a:solidFill>
            <a:schemeClr val="bg2"/>
          </a:solidFill>
          <a:ln>
            <a:noFill/>
          </a:ln>
          <a:effectLst>
            <a:outerShdw blurRad="127000" algn="ctr" rotWithShape="0">
              <a:schemeClr val="tx2">
                <a:lumMod val="75000"/>
                <a:alpha val="50000"/>
              </a:schemeClr>
            </a:outerShdw>
          </a:effectLst>
        </p:spPr>
        <p:txBody>
          <a:bodyPr lIns="50800" tIns="50800" rIns="50800" bIns="50800" anchor="ctr"/>
          <a:lstStyle/>
          <a:p>
            <a:endParaRPr lang="en-US" dirty="0">
              <a:solidFill>
                <a:schemeClr val="bg2"/>
              </a:solidFill>
            </a:endParaRPr>
          </a:p>
        </p:txBody>
      </p:sp>
      <p:sp>
        <p:nvSpPr>
          <p:cNvPr id="10" name="Freeform: Shape 5">
            <a:extLst>
              <a:ext uri="{FF2B5EF4-FFF2-40B4-BE49-F238E27FC236}">
                <a16:creationId xmlns:a16="http://schemas.microsoft.com/office/drawing/2014/main" id="{67BCCF43-2334-904A-8705-8F1661CE077C}"/>
              </a:ext>
            </a:extLst>
          </p:cNvPr>
          <p:cNvSpPr>
            <a:spLocks noGrp="1"/>
          </p:cNvSpPr>
          <p:nvPr>
            <p:ph type="pic" sz="half" idx="13"/>
          </p:nvPr>
        </p:nvSpPr>
        <p:spPr>
          <a:xfrm>
            <a:off x="6474941" y="1568660"/>
            <a:ext cx="4687085" cy="4367438"/>
          </a:xfrm>
          <a:custGeom>
            <a:avLst/>
            <a:gdLst>
              <a:gd name="connsiteX0" fmla="*/ 5320025 w 10826505"/>
              <a:gd name="connsiteY0" fmla="*/ 740 h 10088166"/>
              <a:gd name="connsiteX1" fmla="*/ 8923347 w 10826505"/>
              <a:gd name="connsiteY1" fmla="*/ 1164926 h 10088166"/>
              <a:gd name="connsiteX2" fmla="*/ 10245083 w 10826505"/>
              <a:gd name="connsiteY2" fmla="*/ 2678648 h 10088166"/>
              <a:gd name="connsiteX3" fmla="*/ 10826505 w 10826505"/>
              <a:gd name="connsiteY3" fmla="*/ 4675264 h 10088166"/>
              <a:gd name="connsiteX4" fmla="*/ 10245083 w 10826505"/>
              <a:gd name="connsiteY4" fmla="*/ 6671880 h 10088166"/>
              <a:gd name="connsiteX5" fmla="*/ 8923347 w 10826505"/>
              <a:gd name="connsiteY5" fmla="*/ 8185134 h 10088166"/>
              <a:gd name="connsiteX6" fmla="*/ 7409641 w 10826505"/>
              <a:gd name="connsiteY6" fmla="*/ 9506541 h 10088166"/>
              <a:gd name="connsiteX7" fmla="*/ 5412753 w 10826505"/>
              <a:gd name="connsiteY7" fmla="*/ 10088166 h 10088166"/>
              <a:gd name="connsiteX8" fmla="*/ 3416364 w 10826505"/>
              <a:gd name="connsiteY8" fmla="*/ 9506541 h 10088166"/>
              <a:gd name="connsiteX9" fmla="*/ 1903159 w 10826505"/>
              <a:gd name="connsiteY9" fmla="*/ 8185134 h 10088166"/>
              <a:gd name="connsiteX10" fmla="*/ 581423 w 10826505"/>
              <a:gd name="connsiteY10" fmla="*/ 6671880 h 10088166"/>
              <a:gd name="connsiteX11" fmla="*/ 0 w 10826505"/>
              <a:gd name="connsiteY11" fmla="*/ 4675264 h 10088166"/>
              <a:gd name="connsiteX12" fmla="*/ 581423 w 10826505"/>
              <a:gd name="connsiteY12" fmla="*/ 2678648 h 10088166"/>
              <a:gd name="connsiteX13" fmla="*/ 1903159 w 10826505"/>
              <a:gd name="connsiteY13" fmla="*/ 1164926 h 10088166"/>
              <a:gd name="connsiteX14" fmla="*/ 5320025 w 10826505"/>
              <a:gd name="connsiteY14" fmla="*/ 740 h 1008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26505" h="10088166">
                <a:moveTo>
                  <a:pt x="5320025" y="740"/>
                </a:moveTo>
                <a:cubicBezTo>
                  <a:pt x="6585623" y="-18913"/>
                  <a:pt x="7864253" y="352616"/>
                  <a:pt x="8923347" y="1164926"/>
                </a:cubicBezTo>
                <a:cubicBezTo>
                  <a:pt x="9460161" y="1576696"/>
                  <a:pt x="9909261" y="2091408"/>
                  <a:pt x="10245083" y="2678648"/>
                </a:cubicBezTo>
                <a:cubicBezTo>
                  <a:pt x="10632531" y="3287880"/>
                  <a:pt x="10826505" y="3981806"/>
                  <a:pt x="10826505" y="4675264"/>
                </a:cubicBezTo>
                <a:cubicBezTo>
                  <a:pt x="10826505" y="5369190"/>
                  <a:pt x="10632531" y="6062648"/>
                  <a:pt x="10245083" y="6671880"/>
                </a:cubicBezTo>
                <a:cubicBezTo>
                  <a:pt x="9850117" y="7258184"/>
                  <a:pt x="9313301" y="7794889"/>
                  <a:pt x="8923347" y="8185134"/>
                </a:cubicBezTo>
                <a:cubicBezTo>
                  <a:pt x="8533393" y="8574912"/>
                  <a:pt x="7995575" y="9111616"/>
                  <a:pt x="7409641" y="9506541"/>
                </a:cubicBezTo>
                <a:cubicBezTo>
                  <a:pt x="6800149" y="9894447"/>
                  <a:pt x="6106449" y="10088166"/>
                  <a:pt x="5412753" y="10088166"/>
                </a:cubicBezTo>
                <a:cubicBezTo>
                  <a:pt x="4719053" y="10088166"/>
                  <a:pt x="4025355" y="9894447"/>
                  <a:pt x="3416364" y="9506541"/>
                </a:cubicBezTo>
                <a:cubicBezTo>
                  <a:pt x="2829928" y="9111616"/>
                  <a:pt x="2293114" y="8574912"/>
                  <a:pt x="1903159" y="8185134"/>
                </a:cubicBezTo>
                <a:cubicBezTo>
                  <a:pt x="1513205" y="7794889"/>
                  <a:pt x="976390" y="7258184"/>
                  <a:pt x="581423" y="6671880"/>
                </a:cubicBezTo>
                <a:cubicBezTo>
                  <a:pt x="193975" y="6062648"/>
                  <a:pt x="0" y="5369190"/>
                  <a:pt x="0" y="4675264"/>
                </a:cubicBezTo>
                <a:cubicBezTo>
                  <a:pt x="0" y="3981806"/>
                  <a:pt x="193975" y="3287880"/>
                  <a:pt x="581423" y="2678648"/>
                </a:cubicBezTo>
                <a:cubicBezTo>
                  <a:pt x="917246" y="2091408"/>
                  <a:pt x="1366345" y="1576696"/>
                  <a:pt x="1903159" y="1164926"/>
                </a:cubicBezTo>
                <a:cubicBezTo>
                  <a:pt x="2910626" y="392857"/>
                  <a:pt x="4117080" y="19457"/>
                  <a:pt x="5320025" y="740"/>
                </a:cubicBezTo>
                <a:close/>
              </a:path>
            </a:pathLst>
          </a:custGeom>
          <a:pattFill prst="pct90">
            <a:fgClr>
              <a:schemeClr val="tx2"/>
            </a:fgClr>
            <a:bgClr>
              <a:schemeClr val="accent1"/>
            </a:bgClr>
          </a:patt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11" name="Text Placeholder 32">
            <a:extLst>
              <a:ext uri="{FF2B5EF4-FFF2-40B4-BE49-F238E27FC236}">
                <a16:creationId xmlns:a16="http://schemas.microsoft.com/office/drawing/2014/main" id="{5032F442-EB9E-9045-B2C9-A396CB078151}"/>
              </a:ext>
            </a:extLst>
          </p:cNvPr>
          <p:cNvSpPr>
            <a:spLocks noGrp="1"/>
          </p:cNvSpPr>
          <p:nvPr>
            <p:ph type="body" sz="quarter" idx="15" hasCustomPrompt="1"/>
          </p:nvPr>
        </p:nvSpPr>
        <p:spPr>
          <a:xfrm>
            <a:off x="858692" y="4358659"/>
            <a:ext cx="4824354" cy="413576"/>
          </a:xfrm>
        </p:spPr>
        <p:txBody>
          <a:bodyPr anchor="b">
            <a:normAutofit/>
          </a:bodyPr>
          <a:lstStyle>
            <a:lvl1pPr>
              <a:lnSpc>
                <a:spcPct val="100000"/>
              </a:lnSpc>
              <a:spcBef>
                <a:spcPts val="0"/>
              </a:spcBef>
              <a:spcAft>
                <a:spcPts val="600"/>
              </a:spcAft>
              <a:defRPr sz="1800" b="1" spc="30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12" name="Text Placeholder 32">
            <a:extLst>
              <a:ext uri="{FF2B5EF4-FFF2-40B4-BE49-F238E27FC236}">
                <a16:creationId xmlns:a16="http://schemas.microsoft.com/office/drawing/2014/main" id="{D87F2E22-8907-F647-9049-9D0D56F90B21}"/>
              </a:ext>
            </a:extLst>
          </p:cNvPr>
          <p:cNvSpPr>
            <a:spLocks noGrp="1"/>
          </p:cNvSpPr>
          <p:nvPr>
            <p:ph type="body" sz="quarter" idx="16" hasCustomPrompt="1"/>
          </p:nvPr>
        </p:nvSpPr>
        <p:spPr>
          <a:xfrm>
            <a:off x="858691" y="4797993"/>
            <a:ext cx="5175597" cy="1558357"/>
          </a:xfrm>
        </p:spPr>
        <p:txBody>
          <a:bodyPr anchor="t">
            <a:normAutofit/>
          </a:bodyPr>
          <a:lstStyle>
            <a:lvl1pPr>
              <a:lnSpc>
                <a:spcPct val="100000"/>
              </a:lnSpc>
              <a:spcBef>
                <a:spcPts val="0"/>
              </a:spcBef>
              <a:spcAft>
                <a:spcPts val="600"/>
              </a:spcAft>
              <a:buFont typeface="Arial" panose="020B0604020202020204" pitchFamily="34" charset="0"/>
              <a:buNone/>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pic>
        <p:nvPicPr>
          <p:cNvPr id="15" name="Picture 14">
            <a:extLst>
              <a:ext uri="{FF2B5EF4-FFF2-40B4-BE49-F238E27FC236}">
                <a16:creationId xmlns:a16="http://schemas.microsoft.com/office/drawing/2014/main" id="{6BDD5434-54A2-6A40-96D9-E2CBC86D1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4" name="Slide Number Placeholder 8">
            <a:extLst>
              <a:ext uri="{FF2B5EF4-FFF2-40B4-BE49-F238E27FC236}">
                <a16:creationId xmlns:a16="http://schemas.microsoft.com/office/drawing/2014/main" id="{B673985C-EA0E-C643-BCC7-BC3B11B15331}"/>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729611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 Headline &amp; Cop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988FC-BF77-9543-A25A-A1C3E1D00790}"/>
              </a:ext>
            </a:extLst>
          </p:cNvPr>
          <p:cNvSpPr>
            <a:spLocks noGrp="1"/>
          </p:cNvSpPr>
          <p:nvPr>
            <p:ph type="title" hasCustomPrompt="1"/>
          </p:nvPr>
        </p:nvSpPr>
        <p:spPr>
          <a:xfrm>
            <a:off x="5078350" y="253111"/>
            <a:ext cx="5165731" cy="1325563"/>
          </a:xfrm>
        </p:spPr>
        <p:txBody>
          <a:bodyPr anchor="b"/>
          <a:lstStyle>
            <a:lvl1pPr>
              <a:defRPr>
                <a:solidFill>
                  <a:schemeClr val="accent4"/>
                </a:solidFill>
              </a:defRPr>
            </a:lvl1pPr>
          </a:lstStyle>
          <a:p>
            <a:r>
              <a:rPr lang="en-US"/>
              <a:t>HEADLINE</a:t>
            </a:r>
          </a:p>
        </p:txBody>
      </p:sp>
      <p:pic>
        <p:nvPicPr>
          <p:cNvPr id="7" name="Picture 6">
            <a:extLst>
              <a:ext uri="{FF2B5EF4-FFF2-40B4-BE49-F238E27FC236}">
                <a16:creationId xmlns:a16="http://schemas.microsoft.com/office/drawing/2014/main" id="{4998B8E1-742D-644A-8E97-DB68766D10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3" name="Picture Placeholder 12">
            <a:extLst>
              <a:ext uri="{FF2B5EF4-FFF2-40B4-BE49-F238E27FC236}">
                <a16:creationId xmlns:a16="http://schemas.microsoft.com/office/drawing/2014/main" id="{93DAC0F7-1848-C949-B772-44C476C42DD3}"/>
              </a:ext>
            </a:extLst>
          </p:cNvPr>
          <p:cNvSpPr>
            <a:spLocks noGrp="1"/>
          </p:cNvSpPr>
          <p:nvPr>
            <p:ph type="pic" sz="quarter" idx="11"/>
          </p:nvPr>
        </p:nvSpPr>
        <p:spPr>
          <a:xfrm>
            <a:off x="656166" y="722765"/>
            <a:ext cx="4299997" cy="5816147"/>
          </a:xfrm>
          <a:custGeom>
            <a:avLst/>
            <a:gdLst>
              <a:gd name="connsiteX0" fmla="*/ 0 w 5326063"/>
              <a:gd name="connsiteY0" fmla="*/ 2663825 h 5327650"/>
              <a:gd name="connsiteX1" fmla="*/ 2663032 w 5326063"/>
              <a:gd name="connsiteY1" fmla="*/ 0 h 5327650"/>
              <a:gd name="connsiteX2" fmla="*/ 5326063 w 5326063"/>
              <a:gd name="connsiteY2" fmla="*/ 2663825 h 5327650"/>
              <a:gd name="connsiteX3" fmla="*/ 2663032 w 5326063"/>
              <a:gd name="connsiteY3" fmla="*/ 5327650 h 5327650"/>
              <a:gd name="connsiteX4" fmla="*/ 0 w 5326063"/>
              <a:gd name="connsiteY4" fmla="*/ 2663825 h 5327650"/>
              <a:gd name="connsiteX0" fmla="*/ 0 w 5326063"/>
              <a:gd name="connsiteY0" fmla="*/ 2673412 h 5337237"/>
              <a:gd name="connsiteX1" fmla="*/ 2663032 w 5326063"/>
              <a:gd name="connsiteY1" fmla="*/ 9587 h 5337237"/>
              <a:gd name="connsiteX2" fmla="*/ 5326063 w 5326063"/>
              <a:gd name="connsiteY2" fmla="*/ 2673412 h 5337237"/>
              <a:gd name="connsiteX3" fmla="*/ 2663032 w 5326063"/>
              <a:gd name="connsiteY3" fmla="*/ 5337237 h 5337237"/>
              <a:gd name="connsiteX4" fmla="*/ 0 w 5326063"/>
              <a:gd name="connsiteY4" fmla="*/ 2673412 h 5337237"/>
              <a:gd name="connsiteX0" fmla="*/ 0 w 5327307"/>
              <a:gd name="connsiteY0" fmla="*/ 2673412 h 5337237"/>
              <a:gd name="connsiteX1" fmla="*/ 2663032 w 5327307"/>
              <a:gd name="connsiteY1" fmla="*/ 9587 h 5337237"/>
              <a:gd name="connsiteX2" fmla="*/ 5326063 w 5327307"/>
              <a:gd name="connsiteY2" fmla="*/ 2673412 h 5337237"/>
              <a:gd name="connsiteX3" fmla="*/ 2663032 w 5327307"/>
              <a:gd name="connsiteY3" fmla="*/ 5337237 h 5337237"/>
              <a:gd name="connsiteX4" fmla="*/ 0 w 5327307"/>
              <a:gd name="connsiteY4" fmla="*/ 2673412 h 5337237"/>
              <a:gd name="connsiteX0" fmla="*/ 0 w 5327533"/>
              <a:gd name="connsiteY0" fmla="*/ 2673412 h 5367905"/>
              <a:gd name="connsiteX1" fmla="*/ 2663032 w 5327533"/>
              <a:gd name="connsiteY1" fmla="*/ 9587 h 5367905"/>
              <a:gd name="connsiteX2" fmla="*/ 5326063 w 5327533"/>
              <a:gd name="connsiteY2" fmla="*/ 2673412 h 5367905"/>
              <a:gd name="connsiteX3" fmla="*/ 2663032 w 5327533"/>
              <a:gd name="connsiteY3" fmla="*/ 5337237 h 5367905"/>
              <a:gd name="connsiteX4" fmla="*/ 0 w 5327533"/>
              <a:gd name="connsiteY4" fmla="*/ 2673412 h 5367905"/>
              <a:gd name="connsiteX0" fmla="*/ 122147 w 5449680"/>
              <a:gd name="connsiteY0" fmla="*/ 2677415 h 5382558"/>
              <a:gd name="connsiteX1" fmla="*/ 2785179 w 5449680"/>
              <a:gd name="connsiteY1" fmla="*/ 13590 h 5382558"/>
              <a:gd name="connsiteX2" fmla="*/ 5448210 w 5449680"/>
              <a:gd name="connsiteY2" fmla="*/ 2677415 h 5382558"/>
              <a:gd name="connsiteX3" fmla="*/ 2785179 w 5449680"/>
              <a:gd name="connsiteY3" fmla="*/ 5341240 h 5382558"/>
              <a:gd name="connsiteX4" fmla="*/ 122147 w 5449680"/>
              <a:gd name="connsiteY4" fmla="*/ 2677415 h 5382558"/>
              <a:gd name="connsiteX0" fmla="*/ 105750 w 4562985"/>
              <a:gd name="connsiteY0" fmla="*/ 2664646 h 5328652"/>
              <a:gd name="connsiteX1" fmla="*/ 2768782 w 4562985"/>
              <a:gd name="connsiteY1" fmla="*/ 821 h 5328652"/>
              <a:gd name="connsiteX2" fmla="*/ 4560956 w 4562985"/>
              <a:gd name="connsiteY2" fmla="*/ 2563046 h 5328652"/>
              <a:gd name="connsiteX3" fmla="*/ 2768782 w 4562985"/>
              <a:gd name="connsiteY3" fmla="*/ 5328471 h 5328652"/>
              <a:gd name="connsiteX4" fmla="*/ 105750 w 4562985"/>
              <a:gd name="connsiteY4" fmla="*/ 2664646 h 5328652"/>
              <a:gd name="connsiteX0" fmla="*/ 58 w 4457293"/>
              <a:gd name="connsiteY0" fmla="*/ 2664646 h 5329073"/>
              <a:gd name="connsiteX1" fmla="*/ 2663090 w 4457293"/>
              <a:gd name="connsiteY1" fmla="*/ 821 h 5329073"/>
              <a:gd name="connsiteX2" fmla="*/ 4455264 w 4457293"/>
              <a:gd name="connsiteY2" fmla="*/ 2563046 h 5329073"/>
              <a:gd name="connsiteX3" fmla="*/ 2663090 w 4457293"/>
              <a:gd name="connsiteY3" fmla="*/ 5328471 h 5329073"/>
              <a:gd name="connsiteX4" fmla="*/ 58 w 4457293"/>
              <a:gd name="connsiteY4" fmla="*/ 2664646 h 5329073"/>
              <a:gd name="connsiteX0" fmla="*/ 50 w 2995961"/>
              <a:gd name="connsiteY0" fmla="*/ 2784790 h 5569580"/>
              <a:gd name="connsiteX1" fmla="*/ 2663082 w 2995961"/>
              <a:gd name="connsiteY1" fmla="*/ 120965 h 5569580"/>
              <a:gd name="connsiteX2" fmla="*/ 2663082 w 2995961"/>
              <a:gd name="connsiteY2" fmla="*/ 5448615 h 5569580"/>
              <a:gd name="connsiteX3" fmla="*/ 50 w 2995961"/>
              <a:gd name="connsiteY3" fmla="*/ 2784790 h 5569580"/>
              <a:gd name="connsiteX0" fmla="*/ 50 w 3441213"/>
              <a:gd name="connsiteY0" fmla="*/ 2784790 h 5479140"/>
              <a:gd name="connsiteX1" fmla="*/ 2663082 w 3441213"/>
              <a:gd name="connsiteY1" fmla="*/ 120965 h 5479140"/>
              <a:gd name="connsiteX2" fmla="*/ 2663082 w 3441213"/>
              <a:gd name="connsiteY2" fmla="*/ 5448615 h 5479140"/>
              <a:gd name="connsiteX3" fmla="*/ 50 w 3441213"/>
              <a:gd name="connsiteY3" fmla="*/ 2784790 h 5479140"/>
              <a:gd name="connsiteX0" fmla="*/ 50 w 3683242"/>
              <a:gd name="connsiteY0" fmla="*/ 2784790 h 5453193"/>
              <a:gd name="connsiteX1" fmla="*/ 2663082 w 3683242"/>
              <a:gd name="connsiteY1" fmla="*/ 120965 h 5453193"/>
              <a:gd name="connsiteX2" fmla="*/ 2663082 w 3683242"/>
              <a:gd name="connsiteY2" fmla="*/ 5448615 h 5453193"/>
              <a:gd name="connsiteX3" fmla="*/ 50 w 3683242"/>
              <a:gd name="connsiteY3" fmla="*/ 2784790 h 5453193"/>
              <a:gd name="connsiteX0" fmla="*/ 703 w 3890738"/>
              <a:gd name="connsiteY0" fmla="*/ 2721883 h 5386797"/>
              <a:gd name="connsiteX1" fmla="*/ 2663735 w 3890738"/>
              <a:gd name="connsiteY1" fmla="*/ 58058 h 5386797"/>
              <a:gd name="connsiteX2" fmla="*/ 2939507 w 3890738"/>
              <a:gd name="connsiteY2" fmla="*/ 5385708 h 5386797"/>
              <a:gd name="connsiteX3" fmla="*/ 703 w 3890738"/>
              <a:gd name="connsiteY3" fmla="*/ 2721883 h 5386797"/>
              <a:gd name="connsiteX0" fmla="*/ 703 w 3974551"/>
              <a:gd name="connsiteY0" fmla="*/ 2721883 h 5385771"/>
              <a:gd name="connsiteX1" fmla="*/ 2663735 w 3974551"/>
              <a:gd name="connsiteY1" fmla="*/ 58058 h 5385771"/>
              <a:gd name="connsiteX2" fmla="*/ 2939507 w 3974551"/>
              <a:gd name="connsiteY2" fmla="*/ 5385708 h 5385771"/>
              <a:gd name="connsiteX3" fmla="*/ 703 w 3974551"/>
              <a:gd name="connsiteY3" fmla="*/ 2721883 h 5385771"/>
              <a:gd name="connsiteX0" fmla="*/ 808 w 2787894"/>
              <a:gd name="connsiteY0" fmla="*/ 2735538 h 5443775"/>
              <a:gd name="connsiteX1" fmla="*/ 2315497 w 2787894"/>
              <a:gd name="connsiteY1" fmla="*/ 57199 h 5443775"/>
              <a:gd name="connsiteX2" fmla="*/ 2591269 w 2787894"/>
              <a:gd name="connsiteY2" fmla="*/ 5384849 h 5443775"/>
              <a:gd name="connsiteX3" fmla="*/ 808 w 2787894"/>
              <a:gd name="connsiteY3" fmla="*/ 2735538 h 5443775"/>
              <a:gd name="connsiteX0" fmla="*/ 808 w 2787894"/>
              <a:gd name="connsiteY0" fmla="*/ 2768996 h 5512025"/>
              <a:gd name="connsiteX1" fmla="*/ 2315497 w 2787894"/>
              <a:gd name="connsiteY1" fmla="*/ 90657 h 5512025"/>
              <a:gd name="connsiteX2" fmla="*/ 2591269 w 2787894"/>
              <a:gd name="connsiteY2" fmla="*/ 5418307 h 5512025"/>
              <a:gd name="connsiteX3" fmla="*/ 808 w 2787894"/>
              <a:gd name="connsiteY3" fmla="*/ 2768996 h 5512025"/>
              <a:gd name="connsiteX0" fmla="*/ 722 w 2793155"/>
              <a:gd name="connsiteY0" fmla="*/ 2721294 h 5428937"/>
              <a:gd name="connsiteX1" fmla="*/ 2329925 w 2793155"/>
              <a:gd name="connsiteY1" fmla="*/ 57469 h 5428937"/>
              <a:gd name="connsiteX2" fmla="*/ 2591183 w 2793155"/>
              <a:gd name="connsiteY2" fmla="*/ 5370605 h 5428937"/>
              <a:gd name="connsiteX3" fmla="*/ 722 w 2793155"/>
              <a:gd name="connsiteY3" fmla="*/ 2721294 h 5428937"/>
              <a:gd name="connsiteX0" fmla="*/ 1317 w 3115270"/>
              <a:gd name="connsiteY0" fmla="*/ 2752488 h 5460131"/>
              <a:gd name="connsiteX1" fmla="*/ 2330520 w 3115270"/>
              <a:gd name="connsiteY1" fmla="*/ 88663 h 5460131"/>
              <a:gd name="connsiteX2" fmla="*/ 2591778 w 3115270"/>
              <a:gd name="connsiteY2" fmla="*/ 5401799 h 5460131"/>
              <a:gd name="connsiteX3" fmla="*/ 1317 w 3115270"/>
              <a:gd name="connsiteY3" fmla="*/ 2752488 h 546013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2887659"/>
              <a:gd name="connsiteY0" fmla="*/ 2783268 h 6468013"/>
              <a:gd name="connsiteX1" fmla="*/ 2343985 w 2887659"/>
              <a:gd name="connsiteY1" fmla="*/ 119443 h 6468013"/>
              <a:gd name="connsiteX2" fmla="*/ 2605243 w 2887659"/>
              <a:gd name="connsiteY2" fmla="*/ 5432579 h 6468013"/>
              <a:gd name="connsiteX3" fmla="*/ 14782 w 2887659"/>
              <a:gd name="connsiteY3" fmla="*/ 2783268 h 6468013"/>
              <a:gd name="connsiteX0" fmla="*/ 14782 w 3542449"/>
              <a:gd name="connsiteY0" fmla="*/ 2783268 h 5433571"/>
              <a:gd name="connsiteX1" fmla="*/ 2343985 w 3542449"/>
              <a:gd name="connsiteY1" fmla="*/ 119443 h 5433571"/>
              <a:gd name="connsiteX2" fmla="*/ 2605243 w 3542449"/>
              <a:gd name="connsiteY2" fmla="*/ 5432579 h 5433571"/>
              <a:gd name="connsiteX3" fmla="*/ 14782 w 3542449"/>
              <a:gd name="connsiteY3" fmla="*/ 2783268 h 5433571"/>
              <a:gd name="connsiteX0" fmla="*/ 14782 w 3768116"/>
              <a:gd name="connsiteY0" fmla="*/ 2783268 h 5436870"/>
              <a:gd name="connsiteX1" fmla="*/ 2343985 w 3768116"/>
              <a:gd name="connsiteY1" fmla="*/ 119443 h 5436870"/>
              <a:gd name="connsiteX2" fmla="*/ 2605243 w 3768116"/>
              <a:gd name="connsiteY2" fmla="*/ 5432579 h 5436870"/>
              <a:gd name="connsiteX3" fmla="*/ 14782 w 3768116"/>
              <a:gd name="connsiteY3" fmla="*/ 2783268 h 5436870"/>
              <a:gd name="connsiteX0" fmla="*/ 26570 w 3982907"/>
              <a:gd name="connsiteY0" fmla="*/ 2735877 h 5389479"/>
              <a:gd name="connsiteX1" fmla="*/ 2355773 w 3982907"/>
              <a:gd name="connsiteY1" fmla="*/ 72052 h 5389479"/>
              <a:gd name="connsiteX2" fmla="*/ 2617031 w 3982907"/>
              <a:gd name="connsiteY2" fmla="*/ 5385188 h 5389479"/>
              <a:gd name="connsiteX3" fmla="*/ 26570 w 3982907"/>
              <a:gd name="connsiteY3" fmla="*/ 2735877 h 5389479"/>
              <a:gd name="connsiteX0" fmla="*/ 29054 w 4010649"/>
              <a:gd name="connsiteY0" fmla="*/ 2674882 h 5328484"/>
              <a:gd name="connsiteX1" fmla="*/ 2358257 w 4010649"/>
              <a:gd name="connsiteY1" fmla="*/ 11057 h 5328484"/>
              <a:gd name="connsiteX2" fmla="*/ 2619515 w 4010649"/>
              <a:gd name="connsiteY2" fmla="*/ 5324193 h 5328484"/>
              <a:gd name="connsiteX3" fmla="*/ 29054 w 4010649"/>
              <a:gd name="connsiteY3" fmla="*/ 2674882 h 5328484"/>
              <a:gd name="connsiteX0" fmla="*/ 3464 w 3985059"/>
              <a:gd name="connsiteY0" fmla="*/ 2674307 h 5327661"/>
              <a:gd name="connsiteX1" fmla="*/ 2332667 w 3985059"/>
              <a:gd name="connsiteY1" fmla="*/ 10482 h 5327661"/>
              <a:gd name="connsiteX2" fmla="*/ 2593925 w 3985059"/>
              <a:gd name="connsiteY2" fmla="*/ 5323618 h 5327661"/>
              <a:gd name="connsiteX3" fmla="*/ 3464 w 3985059"/>
              <a:gd name="connsiteY3" fmla="*/ 2674307 h 5327661"/>
              <a:gd name="connsiteX0" fmla="*/ 689 w 2915388"/>
              <a:gd name="connsiteY0" fmla="*/ 3023318 h 5477042"/>
              <a:gd name="connsiteX1" fmla="*/ 2439453 w 2915388"/>
              <a:gd name="connsiteY1" fmla="*/ 54693 h 5477042"/>
              <a:gd name="connsiteX2" fmla="*/ 2700711 w 2915388"/>
              <a:gd name="connsiteY2" fmla="*/ 5367829 h 5477042"/>
              <a:gd name="connsiteX3" fmla="*/ 689 w 2915388"/>
              <a:gd name="connsiteY3" fmla="*/ 3023318 h 5477042"/>
              <a:gd name="connsiteX0" fmla="*/ 12193 w 2926892"/>
              <a:gd name="connsiteY0" fmla="*/ 3048495 h 5562600"/>
              <a:gd name="connsiteX1" fmla="*/ 2450957 w 2926892"/>
              <a:gd name="connsiteY1" fmla="*/ 79870 h 5562600"/>
              <a:gd name="connsiteX2" fmla="*/ 2712215 w 2926892"/>
              <a:gd name="connsiteY2" fmla="*/ 5393006 h 5562600"/>
              <a:gd name="connsiteX3" fmla="*/ 12193 w 2926892"/>
              <a:gd name="connsiteY3" fmla="*/ 3048495 h 5562600"/>
              <a:gd name="connsiteX0" fmla="*/ 12193 w 3430858"/>
              <a:gd name="connsiteY0" fmla="*/ 3048495 h 5533532"/>
              <a:gd name="connsiteX1" fmla="*/ 2450957 w 3430858"/>
              <a:gd name="connsiteY1" fmla="*/ 79870 h 5533532"/>
              <a:gd name="connsiteX2" fmla="*/ 2712215 w 3430858"/>
              <a:gd name="connsiteY2" fmla="*/ 5393006 h 5533532"/>
              <a:gd name="connsiteX3" fmla="*/ 12193 w 3430858"/>
              <a:gd name="connsiteY3" fmla="*/ 3048495 h 5533532"/>
              <a:gd name="connsiteX0" fmla="*/ 2706 w 3625169"/>
              <a:gd name="connsiteY0" fmla="*/ 3007739 h 5342253"/>
              <a:gd name="connsiteX1" fmla="*/ 2441470 w 3625169"/>
              <a:gd name="connsiteY1" fmla="*/ 39114 h 5342253"/>
              <a:gd name="connsiteX2" fmla="*/ 2962934 w 3625169"/>
              <a:gd name="connsiteY2" fmla="*/ 5279679 h 5342253"/>
              <a:gd name="connsiteX3" fmla="*/ 2706 w 3625169"/>
              <a:gd name="connsiteY3" fmla="*/ 3007739 h 5342253"/>
              <a:gd name="connsiteX0" fmla="*/ 2706 w 3789167"/>
              <a:gd name="connsiteY0" fmla="*/ 3007739 h 5424045"/>
              <a:gd name="connsiteX1" fmla="*/ 2441470 w 3789167"/>
              <a:gd name="connsiteY1" fmla="*/ 39114 h 5424045"/>
              <a:gd name="connsiteX2" fmla="*/ 2962934 w 3789167"/>
              <a:gd name="connsiteY2" fmla="*/ 5279679 h 5424045"/>
              <a:gd name="connsiteX3" fmla="*/ 2706 w 3789167"/>
              <a:gd name="connsiteY3" fmla="*/ 3007739 h 5424045"/>
              <a:gd name="connsiteX0" fmla="*/ 3585 w 3790046"/>
              <a:gd name="connsiteY0" fmla="*/ 3027931 h 5516003"/>
              <a:gd name="connsiteX1" fmla="*/ 2442349 w 3790046"/>
              <a:gd name="connsiteY1" fmla="*/ 59306 h 5516003"/>
              <a:gd name="connsiteX2" fmla="*/ 2963813 w 3790046"/>
              <a:gd name="connsiteY2" fmla="*/ 5299871 h 5516003"/>
              <a:gd name="connsiteX3" fmla="*/ 3585 w 3790046"/>
              <a:gd name="connsiteY3" fmla="*/ 3027931 h 5516003"/>
              <a:gd name="connsiteX0" fmla="*/ 3566 w 3139666"/>
              <a:gd name="connsiteY0" fmla="*/ 2841343 h 5422859"/>
              <a:gd name="connsiteX1" fmla="*/ 2456025 w 3139666"/>
              <a:gd name="connsiteY1" fmla="*/ 75918 h 5422859"/>
              <a:gd name="connsiteX2" fmla="*/ 2977489 w 3139666"/>
              <a:gd name="connsiteY2" fmla="*/ 5316483 h 5422859"/>
              <a:gd name="connsiteX3" fmla="*/ 3566 w 3139666"/>
              <a:gd name="connsiteY3" fmla="*/ 2841343 h 5422859"/>
              <a:gd name="connsiteX0" fmla="*/ 385 w 3136485"/>
              <a:gd name="connsiteY0" fmla="*/ 2853470 h 5453353"/>
              <a:gd name="connsiteX1" fmla="*/ 2452844 w 3136485"/>
              <a:gd name="connsiteY1" fmla="*/ 88045 h 5453353"/>
              <a:gd name="connsiteX2" fmla="*/ 2974308 w 3136485"/>
              <a:gd name="connsiteY2" fmla="*/ 5328610 h 5453353"/>
              <a:gd name="connsiteX3" fmla="*/ 385 w 3136485"/>
              <a:gd name="connsiteY3" fmla="*/ 2853470 h 5453353"/>
              <a:gd name="connsiteX0" fmla="*/ 850 w 3470252"/>
              <a:gd name="connsiteY0" fmla="*/ 2906589 h 5506472"/>
              <a:gd name="connsiteX1" fmla="*/ 2453309 w 3470252"/>
              <a:gd name="connsiteY1" fmla="*/ 141164 h 5506472"/>
              <a:gd name="connsiteX2" fmla="*/ 2974773 w 3470252"/>
              <a:gd name="connsiteY2" fmla="*/ 5381729 h 5506472"/>
              <a:gd name="connsiteX3" fmla="*/ 850 w 3470252"/>
              <a:gd name="connsiteY3" fmla="*/ 2906589 h 5506472"/>
              <a:gd name="connsiteX0" fmla="*/ 1481 w 3615243"/>
              <a:gd name="connsiteY0" fmla="*/ 2794042 h 5332920"/>
              <a:gd name="connsiteX1" fmla="*/ 2686756 w 3615243"/>
              <a:gd name="connsiteY1" fmla="*/ 86674 h 5332920"/>
              <a:gd name="connsiteX2" fmla="*/ 2975404 w 3615243"/>
              <a:gd name="connsiteY2" fmla="*/ 5269182 h 5332920"/>
              <a:gd name="connsiteX3" fmla="*/ 1481 w 3615243"/>
              <a:gd name="connsiteY3" fmla="*/ 2794042 h 5332920"/>
              <a:gd name="connsiteX0" fmla="*/ 2176 w 3777813"/>
              <a:gd name="connsiteY0" fmla="*/ 2824545 h 5363423"/>
              <a:gd name="connsiteX1" fmla="*/ 2687451 w 3777813"/>
              <a:gd name="connsiteY1" fmla="*/ 117177 h 5363423"/>
              <a:gd name="connsiteX2" fmla="*/ 2976099 w 3777813"/>
              <a:gd name="connsiteY2" fmla="*/ 5299685 h 5363423"/>
              <a:gd name="connsiteX3" fmla="*/ 2176 w 3777813"/>
              <a:gd name="connsiteY3" fmla="*/ 2824545 h 5363423"/>
              <a:gd name="connsiteX0" fmla="*/ 2176 w 3975190"/>
              <a:gd name="connsiteY0" fmla="*/ 2824545 h 5433490"/>
              <a:gd name="connsiteX1" fmla="*/ 2687451 w 3975190"/>
              <a:gd name="connsiteY1" fmla="*/ 117177 h 5433490"/>
              <a:gd name="connsiteX2" fmla="*/ 2976099 w 3975190"/>
              <a:gd name="connsiteY2" fmla="*/ 5299685 h 5433490"/>
              <a:gd name="connsiteX3" fmla="*/ 2176 w 3975190"/>
              <a:gd name="connsiteY3" fmla="*/ 2824545 h 5433490"/>
              <a:gd name="connsiteX0" fmla="*/ 6774 w 3979788"/>
              <a:gd name="connsiteY0" fmla="*/ 2875344 h 5546478"/>
              <a:gd name="connsiteX1" fmla="*/ 2692049 w 3979788"/>
              <a:gd name="connsiteY1" fmla="*/ 167976 h 5546478"/>
              <a:gd name="connsiteX2" fmla="*/ 2980697 w 3979788"/>
              <a:gd name="connsiteY2" fmla="*/ 5350484 h 5546478"/>
              <a:gd name="connsiteX3" fmla="*/ 6774 w 3979788"/>
              <a:gd name="connsiteY3" fmla="*/ 2875344 h 5546478"/>
              <a:gd name="connsiteX0" fmla="*/ 2374 w 3441832"/>
              <a:gd name="connsiteY0" fmla="*/ 2799204 h 5365036"/>
              <a:gd name="connsiteX1" fmla="*/ 2893075 w 3441832"/>
              <a:gd name="connsiteY1" fmla="*/ 77322 h 5365036"/>
              <a:gd name="connsiteX2" fmla="*/ 3181723 w 3441832"/>
              <a:gd name="connsiteY2" fmla="*/ 5259830 h 5365036"/>
              <a:gd name="connsiteX3" fmla="*/ 2374 w 3441832"/>
              <a:gd name="connsiteY3" fmla="*/ 2799204 h 5365036"/>
              <a:gd name="connsiteX0" fmla="*/ 711 w 3440169"/>
              <a:gd name="connsiteY0" fmla="*/ 2817839 h 5410864"/>
              <a:gd name="connsiteX1" fmla="*/ 2891412 w 3440169"/>
              <a:gd name="connsiteY1" fmla="*/ 95957 h 5410864"/>
              <a:gd name="connsiteX2" fmla="*/ 3180060 w 3440169"/>
              <a:gd name="connsiteY2" fmla="*/ 5278465 h 5410864"/>
              <a:gd name="connsiteX3" fmla="*/ 711 w 3440169"/>
              <a:gd name="connsiteY3" fmla="*/ 2817839 h 5410864"/>
              <a:gd name="connsiteX0" fmla="*/ 1041 w 3711403"/>
              <a:gd name="connsiteY0" fmla="*/ 2927371 h 5520396"/>
              <a:gd name="connsiteX1" fmla="*/ 2891742 w 3711403"/>
              <a:gd name="connsiteY1" fmla="*/ 205489 h 5520396"/>
              <a:gd name="connsiteX2" fmla="*/ 3180390 w 3711403"/>
              <a:gd name="connsiteY2" fmla="*/ 5387997 h 5520396"/>
              <a:gd name="connsiteX3" fmla="*/ 1041 w 3711403"/>
              <a:gd name="connsiteY3" fmla="*/ 2927371 h 5520396"/>
              <a:gd name="connsiteX0" fmla="*/ 1041 w 3261245"/>
              <a:gd name="connsiteY0" fmla="*/ 2927371 h 5520396"/>
              <a:gd name="connsiteX1" fmla="*/ 2891742 w 3261245"/>
              <a:gd name="connsiteY1" fmla="*/ 205489 h 5520396"/>
              <a:gd name="connsiteX2" fmla="*/ 3180390 w 3261245"/>
              <a:gd name="connsiteY2" fmla="*/ 5387997 h 5520396"/>
              <a:gd name="connsiteX3" fmla="*/ 1041 w 3261245"/>
              <a:gd name="connsiteY3" fmla="*/ 2927371 h 5520396"/>
              <a:gd name="connsiteX0" fmla="*/ 2152 w 3620264"/>
              <a:gd name="connsiteY0" fmla="*/ 2723526 h 5316551"/>
              <a:gd name="connsiteX1" fmla="*/ 2892853 w 3620264"/>
              <a:gd name="connsiteY1" fmla="*/ 1644 h 5316551"/>
              <a:gd name="connsiteX2" fmla="*/ 3181501 w 3620264"/>
              <a:gd name="connsiteY2" fmla="*/ 5184152 h 5316551"/>
              <a:gd name="connsiteX3" fmla="*/ 2152 w 3620264"/>
              <a:gd name="connsiteY3" fmla="*/ 2723526 h 5316551"/>
              <a:gd name="connsiteX0" fmla="*/ 76123 w 3255472"/>
              <a:gd name="connsiteY0" fmla="*/ 3057031 h 5583819"/>
              <a:gd name="connsiteX1" fmla="*/ 2090343 w 3255472"/>
              <a:gd name="connsiteY1" fmla="*/ 1321 h 5583819"/>
              <a:gd name="connsiteX2" fmla="*/ 3255472 w 3255472"/>
              <a:gd name="connsiteY2" fmla="*/ 5517657 h 5583819"/>
              <a:gd name="connsiteX3" fmla="*/ 76123 w 3255472"/>
              <a:gd name="connsiteY3" fmla="*/ 3057031 h 5583819"/>
              <a:gd name="connsiteX0" fmla="*/ 47485 w 3226834"/>
              <a:gd name="connsiteY0" fmla="*/ 3056077 h 5582865"/>
              <a:gd name="connsiteX1" fmla="*/ 2061705 w 3226834"/>
              <a:gd name="connsiteY1" fmla="*/ 367 h 5582865"/>
              <a:gd name="connsiteX2" fmla="*/ 3226834 w 3226834"/>
              <a:gd name="connsiteY2" fmla="*/ 5516703 h 5582865"/>
              <a:gd name="connsiteX3" fmla="*/ 47485 w 3226834"/>
              <a:gd name="connsiteY3" fmla="*/ 3056077 h 5582865"/>
              <a:gd name="connsiteX0" fmla="*/ 47485 w 4182195"/>
              <a:gd name="connsiteY0" fmla="*/ 3056077 h 5582865"/>
              <a:gd name="connsiteX1" fmla="*/ 2061705 w 4182195"/>
              <a:gd name="connsiteY1" fmla="*/ 367 h 5582865"/>
              <a:gd name="connsiteX2" fmla="*/ 3226834 w 4182195"/>
              <a:gd name="connsiteY2" fmla="*/ 5516703 h 5582865"/>
              <a:gd name="connsiteX3" fmla="*/ 47485 w 4182195"/>
              <a:gd name="connsiteY3" fmla="*/ 3056077 h 5582865"/>
              <a:gd name="connsiteX0" fmla="*/ 47485 w 4182195"/>
              <a:gd name="connsiteY0" fmla="*/ 3056077 h 5628956"/>
              <a:gd name="connsiteX1" fmla="*/ 2061705 w 4182195"/>
              <a:gd name="connsiteY1" fmla="*/ 367 h 5628956"/>
              <a:gd name="connsiteX2" fmla="*/ 3226834 w 4182195"/>
              <a:gd name="connsiteY2" fmla="*/ 5516703 h 5628956"/>
              <a:gd name="connsiteX3" fmla="*/ 47485 w 4182195"/>
              <a:gd name="connsiteY3" fmla="*/ 3056077 h 5628956"/>
              <a:gd name="connsiteX0" fmla="*/ 34155 w 4168865"/>
              <a:gd name="connsiteY0" fmla="*/ 3056380 h 5687701"/>
              <a:gd name="connsiteX1" fmla="*/ 2048375 w 4168865"/>
              <a:gd name="connsiteY1" fmla="*/ 670 h 5687701"/>
              <a:gd name="connsiteX2" fmla="*/ 3213504 w 4168865"/>
              <a:gd name="connsiteY2" fmla="*/ 5517006 h 5687701"/>
              <a:gd name="connsiteX3" fmla="*/ 34155 w 4168865"/>
              <a:gd name="connsiteY3" fmla="*/ 3056380 h 5687701"/>
              <a:gd name="connsiteX0" fmla="*/ 206109 w 4171916"/>
              <a:gd name="connsiteY0" fmla="*/ 2939979 h 5512090"/>
              <a:gd name="connsiteX1" fmla="*/ 1535579 w 4171916"/>
              <a:gd name="connsiteY1" fmla="*/ 384 h 5512090"/>
              <a:gd name="connsiteX2" fmla="*/ 3385458 w 4171916"/>
              <a:gd name="connsiteY2" fmla="*/ 5400605 h 5512090"/>
              <a:gd name="connsiteX3" fmla="*/ 206109 w 4171916"/>
              <a:gd name="connsiteY3" fmla="*/ 2939979 h 5512090"/>
              <a:gd name="connsiteX0" fmla="*/ 51527 w 3877513"/>
              <a:gd name="connsiteY0" fmla="*/ 3854469 h 5581484"/>
              <a:gd name="connsiteX1" fmla="*/ 1435777 w 3877513"/>
              <a:gd name="connsiteY1" fmla="*/ 14989 h 5581484"/>
              <a:gd name="connsiteX2" fmla="*/ 3285656 w 3877513"/>
              <a:gd name="connsiteY2" fmla="*/ 5415210 h 5581484"/>
              <a:gd name="connsiteX3" fmla="*/ 51527 w 3877513"/>
              <a:gd name="connsiteY3" fmla="*/ 3854469 h 5581484"/>
              <a:gd name="connsiteX0" fmla="*/ 4370 w 3830356"/>
              <a:gd name="connsiteY0" fmla="*/ 3857227 h 5641262"/>
              <a:gd name="connsiteX1" fmla="*/ 1388620 w 3830356"/>
              <a:gd name="connsiteY1" fmla="*/ 17747 h 5641262"/>
              <a:gd name="connsiteX2" fmla="*/ 3238499 w 3830356"/>
              <a:gd name="connsiteY2" fmla="*/ 5417968 h 5641262"/>
              <a:gd name="connsiteX3" fmla="*/ 4370 w 3830356"/>
              <a:gd name="connsiteY3" fmla="*/ 3857227 h 5641262"/>
              <a:gd name="connsiteX0" fmla="*/ 1371 w 4093098"/>
              <a:gd name="connsiteY0" fmla="*/ 2929991 h 4644961"/>
              <a:gd name="connsiteX1" fmla="*/ 2837292 w 4093098"/>
              <a:gd name="connsiteY1" fmla="*/ 19425 h 4644961"/>
              <a:gd name="connsiteX2" fmla="*/ 3235500 w 4093098"/>
              <a:gd name="connsiteY2" fmla="*/ 4490732 h 4644961"/>
              <a:gd name="connsiteX3" fmla="*/ 1371 w 4093098"/>
              <a:gd name="connsiteY3" fmla="*/ 2929991 h 4644961"/>
              <a:gd name="connsiteX0" fmla="*/ 1391 w 4050509"/>
              <a:gd name="connsiteY0" fmla="*/ 2007387 h 4643625"/>
              <a:gd name="connsiteX1" fmla="*/ 2796227 w 4050509"/>
              <a:gd name="connsiteY1" fmla="*/ 69278 h 4643625"/>
              <a:gd name="connsiteX2" fmla="*/ 3194435 w 4050509"/>
              <a:gd name="connsiteY2" fmla="*/ 4540585 h 4643625"/>
              <a:gd name="connsiteX3" fmla="*/ 1391 w 4050509"/>
              <a:gd name="connsiteY3" fmla="*/ 2007387 h 4643625"/>
              <a:gd name="connsiteX0" fmla="*/ 208 w 4049326"/>
              <a:gd name="connsiteY0" fmla="*/ 2092323 h 4794566"/>
              <a:gd name="connsiteX1" fmla="*/ 2795044 w 4049326"/>
              <a:gd name="connsiteY1" fmla="*/ 154214 h 4794566"/>
              <a:gd name="connsiteX2" fmla="*/ 3193252 w 4049326"/>
              <a:gd name="connsiteY2" fmla="*/ 4625521 h 4794566"/>
              <a:gd name="connsiteX3" fmla="*/ 208 w 4049326"/>
              <a:gd name="connsiteY3" fmla="*/ 2092323 h 4794566"/>
              <a:gd name="connsiteX0" fmla="*/ 557 w 3614342"/>
              <a:gd name="connsiteY0" fmla="*/ 2018612 h 4866464"/>
              <a:gd name="connsiteX1" fmla="*/ 2795393 w 3614342"/>
              <a:gd name="connsiteY1" fmla="*/ 80503 h 4866464"/>
              <a:gd name="connsiteX2" fmla="*/ 2604716 w 3614342"/>
              <a:gd name="connsiteY2" fmla="*/ 4769524 h 4866464"/>
              <a:gd name="connsiteX3" fmla="*/ 557 w 3614342"/>
              <a:gd name="connsiteY3" fmla="*/ 2018612 h 4866464"/>
              <a:gd name="connsiteX0" fmla="*/ 557 w 3591297"/>
              <a:gd name="connsiteY0" fmla="*/ 2018612 h 4866464"/>
              <a:gd name="connsiteX1" fmla="*/ 2795393 w 3591297"/>
              <a:gd name="connsiteY1" fmla="*/ 80503 h 4866464"/>
              <a:gd name="connsiteX2" fmla="*/ 3588394 w 3591297"/>
              <a:gd name="connsiteY2" fmla="*/ 3137767 h 4866464"/>
              <a:gd name="connsiteX3" fmla="*/ 2604716 w 3591297"/>
              <a:gd name="connsiteY3" fmla="*/ 4769524 h 4866464"/>
              <a:gd name="connsiteX4" fmla="*/ 557 w 3591297"/>
              <a:gd name="connsiteY4" fmla="*/ 2018612 h 4866464"/>
              <a:gd name="connsiteX0" fmla="*/ 557 w 3591297"/>
              <a:gd name="connsiteY0" fmla="*/ 1953307 h 4801159"/>
              <a:gd name="connsiteX1" fmla="*/ 2795393 w 3591297"/>
              <a:gd name="connsiteY1" fmla="*/ 15198 h 4801159"/>
              <a:gd name="connsiteX2" fmla="*/ 3588394 w 3591297"/>
              <a:gd name="connsiteY2" fmla="*/ 2985376 h 4801159"/>
              <a:gd name="connsiteX3" fmla="*/ 2604716 w 3591297"/>
              <a:gd name="connsiteY3" fmla="*/ 4704219 h 4801159"/>
              <a:gd name="connsiteX4" fmla="*/ 557 w 3591297"/>
              <a:gd name="connsiteY4" fmla="*/ 1953307 h 4801159"/>
              <a:gd name="connsiteX0" fmla="*/ 557 w 3835704"/>
              <a:gd name="connsiteY0" fmla="*/ 1953307 h 4801159"/>
              <a:gd name="connsiteX1" fmla="*/ 2795393 w 3835704"/>
              <a:gd name="connsiteY1" fmla="*/ 15198 h 4801159"/>
              <a:gd name="connsiteX2" fmla="*/ 3588394 w 3835704"/>
              <a:gd name="connsiteY2" fmla="*/ 2985376 h 4801159"/>
              <a:gd name="connsiteX3" fmla="*/ 2604716 w 3835704"/>
              <a:gd name="connsiteY3" fmla="*/ 4704219 h 4801159"/>
              <a:gd name="connsiteX4" fmla="*/ 557 w 3835704"/>
              <a:gd name="connsiteY4" fmla="*/ 1953307 h 4801159"/>
              <a:gd name="connsiteX0" fmla="*/ 697 w 3591286"/>
              <a:gd name="connsiteY0" fmla="*/ 2039678 h 4887970"/>
              <a:gd name="connsiteX1" fmla="*/ 2357293 w 3591286"/>
              <a:gd name="connsiteY1" fmla="*/ 14483 h 4887970"/>
              <a:gd name="connsiteX2" fmla="*/ 3588534 w 3591286"/>
              <a:gd name="connsiteY2" fmla="*/ 3071747 h 4887970"/>
              <a:gd name="connsiteX3" fmla="*/ 2604856 w 3591286"/>
              <a:gd name="connsiteY3" fmla="*/ 4790590 h 4887970"/>
              <a:gd name="connsiteX4" fmla="*/ 697 w 3591286"/>
              <a:gd name="connsiteY4" fmla="*/ 2039678 h 4887970"/>
              <a:gd name="connsiteX0" fmla="*/ 1327 w 3591916"/>
              <a:gd name="connsiteY0" fmla="*/ 2025287 h 4873579"/>
              <a:gd name="connsiteX1" fmla="*/ 2357923 w 3591916"/>
              <a:gd name="connsiteY1" fmla="*/ 92 h 4873579"/>
              <a:gd name="connsiteX2" fmla="*/ 3589164 w 3591916"/>
              <a:gd name="connsiteY2" fmla="*/ 3057356 h 4873579"/>
              <a:gd name="connsiteX3" fmla="*/ 2605486 w 3591916"/>
              <a:gd name="connsiteY3" fmla="*/ 4776199 h 4873579"/>
              <a:gd name="connsiteX4" fmla="*/ 1327 w 3591916"/>
              <a:gd name="connsiteY4" fmla="*/ 2025287 h 4873579"/>
              <a:gd name="connsiteX0" fmla="*/ 2454 w 3593043"/>
              <a:gd name="connsiteY0" fmla="*/ 2025287 h 4892358"/>
              <a:gd name="connsiteX1" fmla="*/ 2359050 w 3593043"/>
              <a:gd name="connsiteY1" fmla="*/ 92 h 4892358"/>
              <a:gd name="connsiteX2" fmla="*/ 3590291 w 3593043"/>
              <a:gd name="connsiteY2" fmla="*/ 3057356 h 4892358"/>
              <a:gd name="connsiteX3" fmla="*/ 2606613 w 3593043"/>
              <a:gd name="connsiteY3" fmla="*/ 4776199 h 4892358"/>
              <a:gd name="connsiteX4" fmla="*/ 2454 w 3593043"/>
              <a:gd name="connsiteY4" fmla="*/ 2025287 h 4892358"/>
              <a:gd name="connsiteX0" fmla="*/ 2454 w 3643278"/>
              <a:gd name="connsiteY0" fmla="*/ 2025287 h 4892358"/>
              <a:gd name="connsiteX1" fmla="*/ 2359050 w 3643278"/>
              <a:gd name="connsiteY1" fmla="*/ 92 h 4892358"/>
              <a:gd name="connsiteX2" fmla="*/ 3590291 w 3643278"/>
              <a:gd name="connsiteY2" fmla="*/ 3057356 h 4892358"/>
              <a:gd name="connsiteX3" fmla="*/ 2606613 w 3643278"/>
              <a:gd name="connsiteY3" fmla="*/ 4776199 h 4892358"/>
              <a:gd name="connsiteX4" fmla="*/ 2454 w 3643278"/>
              <a:gd name="connsiteY4" fmla="*/ 2025287 h 4892358"/>
              <a:gd name="connsiteX0" fmla="*/ 2690 w 3628726"/>
              <a:gd name="connsiteY0" fmla="*/ 2025287 h 4887709"/>
              <a:gd name="connsiteX1" fmla="*/ 2359286 w 3628726"/>
              <a:gd name="connsiteY1" fmla="*/ 92 h 4887709"/>
              <a:gd name="connsiteX2" fmla="*/ 3590527 w 3628726"/>
              <a:gd name="connsiteY2" fmla="*/ 3057356 h 4887709"/>
              <a:gd name="connsiteX3" fmla="*/ 2031659 w 3628726"/>
              <a:gd name="connsiteY3" fmla="*/ 4790714 h 4887709"/>
              <a:gd name="connsiteX4" fmla="*/ 2690 w 3628726"/>
              <a:gd name="connsiteY4" fmla="*/ 2025287 h 4887709"/>
              <a:gd name="connsiteX0" fmla="*/ 3389 w 3629425"/>
              <a:gd name="connsiteY0" fmla="*/ 2025287 h 4793624"/>
              <a:gd name="connsiteX1" fmla="*/ 2359985 w 3629425"/>
              <a:gd name="connsiteY1" fmla="*/ 92 h 4793624"/>
              <a:gd name="connsiteX2" fmla="*/ 3591226 w 3629425"/>
              <a:gd name="connsiteY2" fmla="*/ 3057356 h 4793624"/>
              <a:gd name="connsiteX3" fmla="*/ 2032358 w 3629425"/>
              <a:gd name="connsiteY3" fmla="*/ 4790714 h 4793624"/>
              <a:gd name="connsiteX4" fmla="*/ 3389 w 3629425"/>
              <a:gd name="connsiteY4" fmla="*/ 2025287 h 4793624"/>
              <a:gd name="connsiteX0" fmla="*/ 3389 w 3862397"/>
              <a:gd name="connsiteY0" fmla="*/ 2025315 h 4793652"/>
              <a:gd name="connsiteX1" fmla="*/ 2359985 w 3862397"/>
              <a:gd name="connsiteY1" fmla="*/ 120 h 4793652"/>
              <a:gd name="connsiteX2" fmla="*/ 3591226 w 3862397"/>
              <a:gd name="connsiteY2" fmla="*/ 3057384 h 4793652"/>
              <a:gd name="connsiteX3" fmla="*/ 2032358 w 3862397"/>
              <a:gd name="connsiteY3" fmla="*/ 4790742 h 4793652"/>
              <a:gd name="connsiteX4" fmla="*/ 3389 w 3862397"/>
              <a:gd name="connsiteY4" fmla="*/ 2025315 h 4793652"/>
              <a:gd name="connsiteX0" fmla="*/ 0 w 3587837"/>
              <a:gd name="connsiteY0" fmla="*/ 2025315 h 3133794"/>
              <a:gd name="connsiteX1" fmla="*/ 2356596 w 3587837"/>
              <a:gd name="connsiteY1" fmla="*/ 120 h 3133794"/>
              <a:gd name="connsiteX2" fmla="*/ 3587837 w 3587837"/>
              <a:gd name="connsiteY2" fmla="*/ 3057384 h 3133794"/>
              <a:gd name="connsiteX3" fmla="*/ 0 w 3587837"/>
              <a:gd name="connsiteY3" fmla="*/ 2025315 h 3133794"/>
              <a:gd name="connsiteX0" fmla="*/ 34315 w 3724913"/>
              <a:gd name="connsiteY0" fmla="*/ 2025274 h 3207813"/>
              <a:gd name="connsiteX1" fmla="*/ 2390911 w 3724913"/>
              <a:gd name="connsiteY1" fmla="*/ 79 h 3207813"/>
              <a:gd name="connsiteX2" fmla="*/ 3622152 w 3724913"/>
              <a:gd name="connsiteY2" fmla="*/ 3057343 h 3207813"/>
              <a:gd name="connsiteX3" fmla="*/ 1170746 w 3724913"/>
              <a:gd name="connsiteY3" fmla="*/ 2665458 h 3207813"/>
              <a:gd name="connsiteX4" fmla="*/ 34315 w 3724913"/>
              <a:gd name="connsiteY4" fmla="*/ 2025274 h 3207813"/>
              <a:gd name="connsiteX0" fmla="*/ 30070 w 3716677"/>
              <a:gd name="connsiteY0" fmla="*/ 2025285 h 4702193"/>
              <a:gd name="connsiteX1" fmla="*/ 2386666 w 3716677"/>
              <a:gd name="connsiteY1" fmla="*/ 90 h 4702193"/>
              <a:gd name="connsiteX2" fmla="*/ 3617907 w 3716677"/>
              <a:gd name="connsiteY2" fmla="*/ 3057354 h 4702193"/>
              <a:gd name="connsiteX3" fmla="*/ 1221281 w 3716677"/>
              <a:gd name="connsiteY3" fmla="*/ 4682954 h 4702193"/>
              <a:gd name="connsiteX4" fmla="*/ 30070 w 3716677"/>
              <a:gd name="connsiteY4" fmla="*/ 2025285 h 4702193"/>
              <a:gd name="connsiteX0" fmla="*/ 55685 w 3742292"/>
              <a:gd name="connsiteY0" fmla="*/ 2025285 h 4728807"/>
              <a:gd name="connsiteX1" fmla="*/ 2412281 w 3742292"/>
              <a:gd name="connsiteY1" fmla="*/ 90 h 4728807"/>
              <a:gd name="connsiteX2" fmla="*/ 3643522 w 3742292"/>
              <a:gd name="connsiteY2" fmla="*/ 3057354 h 4728807"/>
              <a:gd name="connsiteX3" fmla="*/ 1246896 w 3742292"/>
              <a:gd name="connsiteY3" fmla="*/ 4682954 h 4728807"/>
              <a:gd name="connsiteX4" fmla="*/ 55685 w 3742292"/>
              <a:gd name="connsiteY4" fmla="*/ 2025285 h 4728807"/>
              <a:gd name="connsiteX0" fmla="*/ 28138 w 2448977"/>
              <a:gd name="connsiteY0" fmla="*/ 4702937 h 4814640"/>
              <a:gd name="connsiteX1" fmla="*/ 1193523 w 2448977"/>
              <a:gd name="connsiteY1" fmla="*/ 20073 h 4814640"/>
              <a:gd name="connsiteX2" fmla="*/ 2424764 w 2448977"/>
              <a:gd name="connsiteY2" fmla="*/ 3077337 h 4814640"/>
              <a:gd name="connsiteX3" fmla="*/ 28138 w 2448977"/>
              <a:gd name="connsiteY3" fmla="*/ 4702937 h 4814640"/>
              <a:gd name="connsiteX0" fmla="*/ 205515 w 2626174"/>
              <a:gd name="connsiteY0" fmla="*/ 4684962 h 4796665"/>
              <a:gd name="connsiteX1" fmla="*/ 260296 w 2626174"/>
              <a:gd name="connsiteY1" fmla="*/ 3552848 h 4796665"/>
              <a:gd name="connsiteX2" fmla="*/ 1370900 w 2626174"/>
              <a:gd name="connsiteY2" fmla="*/ 2098 h 4796665"/>
              <a:gd name="connsiteX3" fmla="*/ 2602141 w 2626174"/>
              <a:gd name="connsiteY3" fmla="*/ 3059362 h 4796665"/>
              <a:gd name="connsiteX4" fmla="*/ 205515 w 2626174"/>
              <a:gd name="connsiteY4" fmla="*/ 4684962 h 4796665"/>
              <a:gd name="connsiteX0" fmla="*/ 1115118 w 3540121"/>
              <a:gd name="connsiteY0" fmla="*/ 4682882 h 4682930"/>
              <a:gd name="connsiteX1" fmla="*/ 33213 w 3540121"/>
              <a:gd name="connsiteY1" fmla="*/ 3100825 h 4682930"/>
              <a:gd name="connsiteX2" fmla="*/ 2280503 w 3540121"/>
              <a:gd name="connsiteY2" fmla="*/ 18 h 4682930"/>
              <a:gd name="connsiteX3" fmla="*/ 3511744 w 3540121"/>
              <a:gd name="connsiteY3" fmla="*/ 3057282 h 4682930"/>
              <a:gd name="connsiteX4" fmla="*/ 1115118 w 3540121"/>
              <a:gd name="connsiteY4" fmla="*/ 4682882 h 4682930"/>
              <a:gd name="connsiteX0" fmla="*/ 1115118 w 3540121"/>
              <a:gd name="connsiteY0" fmla="*/ 4682882 h 4682930"/>
              <a:gd name="connsiteX1" fmla="*/ 33213 w 3540121"/>
              <a:gd name="connsiteY1" fmla="*/ 3100825 h 4682930"/>
              <a:gd name="connsiteX2" fmla="*/ 2280503 w 3540121"/>
              <a:gd name="connsiteY2" fmla="*/ 18 h 4682930"/>
              <a:gd name="connsiteX3" fmla="*/ 3511744 w 3540121"/>
              <a:gd name="connsiteY3" fmla="*/ 3057282 h 4682930"/>
              <a:gd name="connsiteX4" fmla="*/ 1115118 w 3540121"/>
              <a:gd name="connsiteY4" fmla="*/ 4682882 h 4682930"/>
              <a:gd name="connsiteX0" fmla="*/ 1081961 w 3506964"/>
              <a:gd name="connsiteY0" fmla="*/ 4682882 h 4785491"/>
              <a:gd name="connsiteX1" fmla="*/ 56 w 3506964"/>
              <a:gd name="connsiteY1" fmla="*/ 3100825 h 4785491"/>
              <a:gd name="connsiteX2" fmla="*/ 2247346 w 3506964"/>
              <a:gd name="connsiteY2" fmla="*/ 18 h 4785491"/>
              <a:gd name="connsiteX3" fmla="*/ 3478587 w 3506964"/>
              <a:gd name="connsiteY3" fmla="*/ 3057282 h 4785491"/>
              <a:gd name="connsiteX4" fmla="*/ 1081961 w 3506964"/>
              <a:gd name="connsiteY4" fmla="*/ 4682882 h 4785491"/>
              <a:gd name="connsiteX0" fmla="*/ 1083737 w 3508740"/>
              <a:gd name="connsiteY0" fmla="*/ 4682882 h 4683037"/>
              <a:gd name="connsiteX1" fmla="*/ 1832 w 3508740"/>
              <a:gd name="connsiteY1" fmla="*/ 3100825 h 4683037"/>
              <a:gd name="connsiteX2" fmla="*/ 2249122 w 3508740"/>
              <a:gd name="connsiteY2" fmla="*/ 18 h 4683037"/>
              <a:gd name="connsiteX3" fmla="*/ 3480363 w 3508740"/>
              <a:gd name="connsiteY3" fmla="*/ 3057282 h 4683037"/>
              <a:gd name="connsiteX4" fmla="*/ 1083737 w 3508740"/>
              <a:gd name="connsiteY4" fmla="*/ 4682882 h 4683037"/>
              <a:gd name="connsiteX0" fmla="*/ 1084720 w 3544082"/>
              <a:gd name="connsiteY0" fmla="*/ 4696554 h 4696709"/>
              <a:gd name="connsiteX1" fmla="*/ 2815 w 3544082"/>
              <a:gd name="connsiteY1" fmla="*/ 3114497 h 4696709"/>
              <a:gd name="connsiteX2" fmla="*/ 2250105 w 3544082"/>
              <a:gd name="connsiteY2" fmla="*/ 13690 h 4696709"/>
              <a:gd name="connsiteX3" fmla="*/ 3481346 w 3544082"/>
              <a:gd name="connsiteY3" fmla="*/ 3070954 h 4696709"/>
              <a:gd name="connsiteX4" fmla="*/ 1084720 w 3544082"/>
              <a:gd name="connsiteY4" fmla="*/ 4696554 h 4696709"/>
              <a:gd name="connsiteX0" fmla="*/ 1084720 w 3536901"/>
              <a:gd name="connsiteY0" fmla="*/ 4696554 h 4908148"/>
              <a:gd name="connsiteX1" fmla="*/ 2815 w 3536901"/>
              <a:gd name="connsiteY1" fmla="*/ 3114497 h 4908148"/>
              <a:gd name="connsiteX2" fmla="*/ 2250105 w 3536901"/>
              <a:gd name="connsiteY2" fmla="*/ 13690 h 4908148"/>
              <a:gd name="connsiteX3" fmla="*/ 3481346 w 3536901"/>
              <a:gd name="connsiteY3" fmla="*/ 3070954 h 4908148"/>
              <a:gd name="connsiteX4" fmla="*/ 1084720 w 3536901"/>
              <a:gd name="connsiteY4" fmla="*/ 4696554 h 4908148"/>
              <a:gd name="connsiteX0" fmla="*/ 1083631 w 2880199"/>
              <a:gd name="connsiteY0" fmla="*/ 4685324 h 4829551"/>
              <a:gd name="connsiteX1" fmla="*/ 1726 w 2880199"/>
              <a:gd name="connsiteY1" fmla="*/ 3103267 h 4829551"/>
              <a:gd name="connsiteX2" fmla="*/ 2249016 w 2880199"/>
              <a:gd name="connsiteY2" fmla="*/ 2460 h 4829551"/>
              <a:gd name="connsiteX3" fmla="*/ 2809201 w 2880199"/>
              <a:gd name="connsiteY3" fmla="*/ 2914581 h 4829551"/>
              <a:gd name="connsiteX4" fmla="*/ 1083631 w 2880199"/>
              <a:gd name="connsiteY4" fmla="*/ 4685324 h 4829551"/>
              <a:gd name="connsiteX0" fmla="*/ 1083631 w 2820818"/>
              <a:gd name="connsiteY0" fmla="*/ 4685136 h 4820744"/>
              <a:gd name="connsiteX1" fmla="*/ 1726 w 2820818"/>
              <a:gd name="connsiteY1" fmla="*/ 3103079 h 4820744"/>
              <a:gd name="connsiteX2" fmla="*/ 2249016 w 2820818"/>
              <a:gd name="connsiteY2" fmla="*/ 2272 h 4820744"/>
              <a:gd name="connsiteX3" fmla="*/ 2809201 w 2820818"/>
              <a:gd name="connsiteY3" fmla="*/ 2914393 h 4820744"/>
              <a:gd name="connsiteX4" fmla="*/ 1083631 w 2820818"/>
              <a:gd name="connsiteY4" fmla="*/ 4685136 h 4820744"/>
              <a:gd name="connsiteX0" fmla="*/ 1084781 w 3015036"/>
              <a:gd name="connsiteY0" fmla="*/ 4683618 h 4819226"/>
              <a:gd name="connsiteX1" fmla="*/ 2876 w 3015036"/>
              <a:gd name="connsiteY1" fmla="*/ 3101561 h 4819226"/>
              <a:gd name="connsiteX2" fmla="*/ 2250166 w 3015036"/>
              <a:gd name="connsiteY2" fmla="*/ 754 h 4819226"/>
              <a:gd name="connsiteX3" fmla="*/ 2810351 w 3015036"/>
              <a:gd name="connsiteY3" fmla="*/ 2912875 h 4819226"/>
              <a:gd name="connsiteX4" fmla="*/ 1084781 w 3015036"/>
              <a:gd name="connsiteY4" fmla="*/ 4683618 h 4819226"/>
              <a:gd name="connsiteX0" fmla="*/ 1082402 w 2808757"/>
              <a:gd name="connsiteY0" fmla="*/ 4697476 h 4698342"/>
              <a:gd name="connsiteX1" fmla="*/ 497 w 2808757"/>
              <a:gd name="connsiteY1" fmla="*/ 3115419 h 4698342"/>
              <a:gd name="connsiteX2" fmla="*/ 1206966 w 2808757"/>
              <a:gd name="connsiteY2" fmla="*/ 98 h 4698342"/>
              <a:gd name="connsiteX3" fmla="*/ 2807972 w 2808757"/>
              <a:gd name="connsiteY3" fmla="*/ 2926733 h 4698342"/>
              <a:gd name="connsiteX4" fmla="*/ 1082402 w 2808757"/>
              <a:gd name="connsiteY4" fmla="*/ 4697476 h 4698342"/>
              <a:gd name="connsiteX0" fmla="*/ 1365343 w 3223324"/>
              <a:gd name="connsiteY0" fmla="*/ 4702972 h 4703838"/>
              <a:gd name="connsiteX1" fmla="*/ 283438 w 3223324"/>
              <a:gd name="connsiteY1" fmla="*/ 3120915 h 4703838"/>
              <a:gd name="connsiteX2" fmla="*/ 1489907 w 3223324"/>
              <a:gd name="connsiteY2" fmla="*/ 5594 h 4703838"/>
              <a:gd name="connsiteX3" fmla="*/ 3090913 w 3223324"/>
              <a:gd name="connsiteY3" fmla="*/ 2932229 h 4703838"/>
              <a:gd name="connsiteX4" fmla="*/ 1365343 w 3223324"/>
              <a:gd name="connsiteY4" fmla="*/ 4702972 h 4703838"/>
              <a:gd name="connsiteX0" fmla="*/ 1102484 w 2830390"/>
              <a:gd name="connsiteY0" fmla="*/ 4698335 h 4699201"/>
              <a:gd name="connsiteX1" fmla="*/ 20579 w 2830390"/>
              <a:gd name="connsiteY1" fmla="*/ 3116278 h 4699201"/>
              <a:gd name="connsiteX2" fmla="*/ 1227048 w 2830390"/>
              <a:gd name="connsiteY2" fmla="*/ 957 h 4699201"/>
              <a:gd name="connsiteX3" fmla="*/ 2828054 w 2830390"/>
              <a:gd name="connsiteY3" fmla="*/ 2927592 h 4699201"/>
              <a:gd name="connsiteX4" fmla="*/ 1102484 w 2830390"/>
              <a:gd name="connsiteY4" fmla="*/ 4698335 h 4699201"/>
              <a:gd name="connsiteX0" fmla="*/ 1369863 w 3095720"/>
              <a:gd name="connsiteY0" fmla="*/ 4697541 h 4697937"/>
              <a:gd name="connsiteX1" fmla="*/ 363 w 3095720"/>
              <a:gd name="connsiteY1" fmla="*/ 3057427 h 4697937"/>
              <a:gd name="connsiteX2" fmla="*/ 1494427 w 3095720"/>
              <a:gd name="connsiteY2" fmla="*/ 163 h 4697937"/>
              <a:gd name="connsiteX3" fmla="*/ 3095433 w 3095720"/>
              <a:gd name="connsiteY3" fmla="*/ 2926798 h 4697937"/>
              <a:gd name="connsiteX4" fmla="*/ 1369863 w 3095720"/>
              <a:gd name="connsiteY4" fmla="*/ 4697541 h 4697937"/>
              <a:gd name="connsiteX0" fmla="*/ 1376308 w 3102166"/>
              <a:gd name="connsiteY0" fmla="*/ 4697541 h 4775450"/>
              <a:gd name="connsiteX1" fmla="*/ 6808 w 3102166"/>
              <a:gd name="connsiteY1" fmla="*/ 3057427 h 4775450"/>
              <a:gd name="connsiteX2" fmla="*/ 1500872 w 3102166"/>
              <a:gd name="connsiteY2" fmla="*/ 163 h 4775450"/>
              <a:gd name="connsiteX3" fmla="*/ 3101878 w 3102166"/>
              <a:gd name="connsiteY3" fmla="*/ 2926798 h 4775450"/>
              <a:gd name="connsiteX4" fmla="*/ 1376308 w 3102166"/>
              <a:gd name="connsiteY4" fmla="*/ 4697541 h 4775450"/>
              <a:gd name="connsiteX0" fmla="*/ 1567214 w 3293080"/>
              <a:gd name="connsiteY0" fmla="*/ 4698251 h 4700447"/>
              <a:gd name="connsiteX1" fmla="*/ 5984 w 3293080"/>
              <a:gd name="connsiteY1" fmla="*/ 2767852 h 4700447"/>
              <a:gd name="connsiteX2" fmla="*/ 1691778 w 3293080"/>
              <a:gd name="connsiteY2" fmla="*/ 873 h 4700447"/>
              <a:gd name="connsiteX3" fmla="*/ 3292784 w 3293080"/>
              <a:gd name="connsiteY3" fmla="*/ 2927508 h 4700447"/>
              <a:gd name="connsiteX4" fmla="*/ 1567214 w 3293080"/>
              <a:gd name="connsiteY4" fmla="*/ 4698251 h 4700447"/>
              <a:gd name="connsiteX0" fmla="*/ 2056523 w 3292631"/>
              <a:gd name="connsiteY0" fmla="*/ 4712155 h 4712661"/>
              <a:gd name="connsiteX1" fmla="*/ 2272 w 3292631"/>
              <a:gd name="connsiteY1" fmla="*/ 2767241 h 4712661"/>
              <a:gd name="connsiteX2" fmla="*/ 1688066 w 3292631"/>
              <a:gd name="connsiteY2" fmla="*/ 262 h 4712661"/>
              <a:gd name="connsiteX3" fmla="*/ 3289072 w 3292631"/>
              <a:gd name="connsiteY3" fmla="*/ 2926897 h 4712661"/>
              <a:gd name="connsiteX4" fmla="*/ 2056523 w 3292631"/>
              <a:gd name="connsiteY4" fmla="*/ 4712155 h 4712661"/>
              <a:gd name="connsiteX0" fmla="*/ 2056523 w 3302705"/>
              <a:gd name="connsiteY0" fmla="*/ 4712155 h 4715418"/>
              <a:gd name="connsiteX1" fmla="*/ 2272 w 3302705"/>
              <a:gd name="connsiteY1" fmla="*/ 2767241 h 4715418"/>
              <a:gd name="connsiteX2" fmla="*/ 1688066 w 3302705"/>
              <a:gd name="connsiteY2" fmla="*/ 262 h 4715418"/>
              <a:gd name="connsiteX3" fmla="*/ 3289072 w 3302705"/>
              <a:gd name="connsiteY3" fmla="*/ 2926897 h 4715418"/>
              <a:gd name="connsiteX4" fmla="*/ 2056523 w 3302705"/>
              <a:gd name="connsiteY4" fmla="*/ 4712155 h 4715418"/>
              <a:gd name="connsiteX0" fmla="*/ 2054294 w 3300476"/>
              <a:gd name="connsiteY0" fmla="*/ 4712344 h 4721235"/>
              <a:gd name="connsiteX1" fmla="*/ 43 w 3300476"/>
              <a:gd name="connsiteY1" fmla="*/ 2767430 h 4721235"/>
              <a:gd name="connsiteX2" fmla="*/ 1685837 w 3300476"/>
              <a:gd name="connsiteY2" fmla="*/ 451 h 4721235"/>
              <a:gd name="connsiteX3" fmla="*/ 3286843 w 3300476"/>
              <a:gd name="connsiteY3" fmla="*/ 2927086 h 4721235"/>
              <a:gd name="connsiteX4" fmla="*/ 2054294 w 3300476"/>
              <a:gd name="connsiteY4" fmla="*/ 4712344 h 4721235"/>
              <a:gd name="connsiteX0" fmla="*/ 2054276 w 3290384"/>
              <a:gd name="connsiteY0" fmla="*/ 4714774 h 4717440"/>
              <a:gd name="connsiteX1" fmla="*/ 25 w 3290384"/>
              <a:gd name="connsiteY1" fmla="*/ 2552146 h 4717440"/>
              <a:gd name="connsiteX2" fmla="*/ 1685819 w 3290384"/>
              <a:gd name="connsiteY2" fmla="*/ 2881 h 4717440"/>
              <a:gd name="connsiteX3" fmla="*/ 3286825 w 3290384"/>
              <a:gd name="connsiteY3" fmla="*/ 2929516 h 4717440"/>
              <a:gd name="connsiteX4" fmla="*/ 2054276 w 3290384"/>
              <a:gd name="connsiteY4" fmla="*/ 4714774 h 4717440"/>
              <a:gd name="connsiteX0" fmla="*/ 2054276 w 3633526"/>
              <a:gd name="connsiteY0" fmla="*/ 4714774 h 4719669"/>
              <a:gd name="connsiteX1" fmla="*/ 25 w 3633526"/>
              <a:gd name="connsiteY1" fmla="*/ 2552146 h 4719669"/>
              <a:gd name="connsiteX2" fmla="*/ 1685819 w 3633526"/>
              <a:gd name="connsiteY2" fmla="*/ 2881 h 4719669"/>
              <a:gd name="connsiteX3" fmla="*/ 3286825 w 3633526"/>
              <a:gd name="connsiteY3" fmla="*/ 2929516 h 4719669"/>
              <a:gd name="connsiteX4" fmla="*/ 2054276 w 3633526"/>
              <a:gd name="connsiteY4" fmla="*/ 4714774 h 4719669"/>
              <a:gd name="connsiteX0" fmla="*/ 2054276 w 3633526"/>
              <a:gd name="connsiteY0" fmla="*/ 4754243 h 4759138"/>
              <a:gd name="connsiteX1" fmla="*/ 25 w 3633526"/>
              <a:gd name="connsiteY1" fmla="*/ 2591615 h 4759138"/>
              <a:gd name="connsiteX2" fmla="*/ 1685819 w 3633526"/>
              <a:gd name="connsiteY2" fmla="*/ 42350 h 4759138"/>
              <a:gd name="connsiteX3" fmla="*/ 2314483 w 3633526"/>
              <a:gd name="connsiteY3" fmla="*/ 1140185 h 4759138"/>
              <a:gd name="connsiteX4" fmla="*/ 3286825 w 3633526"/>
              <a:gd name="connsiteY4" fmla="*/ 2968985 h 4759138"/>
              <a:gd name="connsiteX5" fmla="*/ 2054276 w 3633526"/>
              <a:gd name="connsiteY5" fmla="*/ 4754243 h 4759138"/>
              <a:gd name="connsiteX0" fmla="*/ 2055143 w 3634393"/>
              <a:gd name="connsiteY0" fmla="*/ 3617146 h 3622041"/>
              <a:gd name="connsiteX1" fmla="*/ 892 w 3634393"/>
              <a:gd name="connsiteY1" fmla="*/ 1454518 h 3622041"/>
              <a:gd name="connsiteX2" fmla="*/ 2315350 w 3634393"/>
              <a:gd name="connsiteY2" fmla="*/ 3088 h 3622041"/>
              <a:gd name="connsiteX3" fmla="*/ 3287692 w 3634393"/>
              <a:gd name="connsiteY3" fmla="*/ 1831888 h 3622041"/>
              <a:gd name="connsiteX4" fmla="*/ 2055143 w 3634393"/>
              <a:gd name="connsiteY4" fmla="*/ 3617146 h 3622041"/>
              <a:gd name="connsiteX0" fmla="*/ 2055094 w 3289140"/>
              <a:gd name="connsiteY0" fmla="*/ 4298172 h 4300684"/>
              <a:gd name="connsiteX1" fmla="*/ 843 w 3289140"/>
              <a:gd name="connsiteY1" fmla="*/ 2135544 h 4300684"/>
              <a:gd name="connsiteX2" fmla="*/ 1822281 w 3289140"/>
              <a:gd name="connsiteY2" fmla="*/ 1942 h 4300684"/>
              <a:gd name="connsiteX3" fmla="*/ 3287643 w 3289140"/>
              <a:gd name="connsiteY3" fmla="*/ 2512914 h 4300684"/>
              <a:gd name="connsiteX4" fmla="*/ 2055094 w 3289140"/>
              <a:gd name="connsiteY4" fmla="*/ 4298172 h 4300684"/>
              <a:gd name="connsiteX0" fmla="*/ 2054948 w 3288994"/>
              <a:gd name="connsiteY0" fmla="*/ 4375101 h 4377613"/>
              <a:gd name="connsiteX1" fmla="*/ 697 w 3288994"/>
              <a:gd name="connsiteY1" fmla="*/ 2212473 h 4377613"/>
              <a:gd name="connsiteX2" fmla="*/ 1822135 w 3288994"/>
              <a:gd name="connsiteY2" fmla="*/ 78871 h 4377613"/>
              <a:gd name="connsiteX3" fmla="*/ 3287497 w 3288994"/>
              <a:gd name="connsiteY3" fmla="*/ 2589843 h 4377613"/>
              <a:gd name="connsiteX4" fmla="*/ 2054948 w 3288994"/>
              <a:gd name="connsiteY4" fmla="*/ 4375101 h 4377613"/>
              <a:gd name="connsiteX0" fmla="*/ 2055929 w 3289975"/>
              <a:gd name="connsiteY0" fmla="*/ 4297198 h 4299710"/>
              <a:gd name="connsiteX1" fmla="*/ 1678 w 3289975"/>
              <a:gd name="connsiteY1" fmla="*/ 2134570 h 4299710"/>
              <a:gd name="connsiteX2" fmla="*/ 1823116 w 3289975"/>
              <a:gd name="connsiteY2" fmla="*/ 968 h 4299710"/>
              <a:gd name="connsiteX3" fmla="*/ 3288478 w 3289975"/>
              <a:gd name="connsiteY3" fmla="*/ 2511940 h 4299710"/>
              <a:gd name="connsiteX4" fmla="*/ 2055929 w 3289975"/>
              <a:gd name="connsiteY4" fmla="*/ 4297198 h 4299710"/>
              <a:gd name="connsiteX0" fmla="*/ 2055022 w 2542232"/>
              <a:gd name="connsiteY0" fmla="*/ 4297082 h 4298078"/>
              <a:gd name="connsiteX1" fmla="*/ 771 w 2542232"/>
              <a:gd name="connsiteY1" fmla="*/ 2134454 h 4298078"/>
              <a:gd name="connsiteX2" fmla="*/ 1822209 w 2542232"/>
              <a:gd name="connsiteY2" fmla="*/ 852 h 4298078"/>
              <a:gd name="connsiteX3" fmla="*/ 2534347 w 2542232"/>
              <a:gd name="connsiteY3" fmla="*/ 2381195 h 4298078"/>
              <a:gd name="connsiteX4" fmla="*/ 2055022 w 2542232"/>
              <a:gd name="connsiteY4" fmla="*/ 4297082 h 4298078"/>
              <a:gd name="connsiteX0" fmla="*/ 2060691 w 2843869"/>
              <a:gd name="connsiteY0" fmla="*/ 4297780 h 4298776"/>
              <a:gd name="connsiteX1" fmla="*/ 6440 w 2843869"/>
              <a:gd name="connsiteY1" fmla="*/ 2135152 h 4298776"/>
              <a:gd name="connsiteX2" fmla="*/ 1827878 w 2843869"/>
              <a:gd name="connsiteY2" fmla="*/ 1550 h 4298776"/>
              <a:gd name="connsiteX3" fmla="*/ 2540016 w 2843869"/>
              <a:gd name="connsiteY3" fmla="*/ 2381893 h 4298776"/>
              <a:gd name="connsiteX4" fmla="*/ 2060691 w 2843869"/>
              <a:gd name="connsiteY4" fmla="*/ 4297780 h 4298776"/>
              <a:gd name="connsiteX0" fmla="*/ 2060691 w 2843869"/>
              <a:gd name="connsiteY0" fmla="*/ 4297780 h 4297925"/>
              <a:gd name="connsiteX1" fmla="*/ 6440 w 2843869"/>
              <a:gd name="connsiteY1" fmla="*/ 2135152 h 4297925"/>
              <a:gd name="connsiteX2" fmla="*/ 1827878 w 2843869"/>
              <a:gd name="connsiteY2" fmla="*/ 1550 h 4297925"/>
              <a:gd name="connsiteX3" fmla="*/ 2540016 w 2843869"/>
              <a:gd name="connsiteY3" fmla="*/ 2381893 h 4297925"/>
              <a:gd name="connsiteX4" fmla="*/ 2060691 w 2843869"/>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98"/>
              <a:gd name="connsiteX1" fmla="*/ 6440 w 2991642"/>
              <a:gd name="connsiteY1" fmla="*/ 2135152 h 4297998"/>
              <a:gd name="connsiteX2" fmla="*/ 1827878 w 2991642"/>
              <a:gd name="connsiteY2" fmla="*/ 1550 h 4297998"/>
              <a:gd name="connsiteX3" fmla="*/ 2540016 w 2991642"/>
              <a:gd name="connsiteY3" fmla="*/ 2381893 h 4297998"/>
              <a:gd name="connsiteX4" fmla="*/ 2060691 w 2991642"/>
              <a:gd name="connsiteY4" fmla="*/ 4297780 h 4297998"/>
              <a:gd name="connsiteX0" fmla="*/ 2183130 w 3114081"/>
              <a:gd name="connsiteY0" fmla="*/ 4297780 h 4331908"/>
              <a:gd name="connsiteX1" fmla="*/ 375391 w 3114081"/>
              <a:gd name="connsiteY1" fmla="*/ 3501326 h 4331908"/>
              <a:gd name="connsiteX2" fmla="*/ 128879 w 3114081"/>
              <a:gd name="connsiteY2" fmla="*/ 2135152 h 4331908"/>
              <a:gd name="connsiteX3" fmla="*/ 1950317 w 3114081"/>
              <a:gd name="connsiteY3" fmla="*/ 1550 h 4331908"/>
              <a:gd name="connsiteX4" fmla="*/ 2662455 w 3114081"/>
              <a:gd name="connsiteY4" fmla="*/ 2381893 h 4331908"/>
              <a:gd name="connsiteX5" fmla="*/ 2183130 w 3114081"/>
              <a:gd name="connsiteY5" fmla="*/ 4297780 h 4331908"/>
              <a:gd name="connsiteX0" fmla="*/ 1808635 w 2739586"/>
              <a:gd name="connsiteY0" fmla="*/ 4309365 h 4366964"/>
              <a:gd name="connsiteX1" fmla="*/ 896 w 2739586"/>
              <a:gd name="connsiteY1" fmla="*/ 3512911 h 4366964"/>
              <a:gd name="connsiteX2" fmla="*/ 1575822 w 2739586"/>
              <a:gd name="connsiteY2" fmla="*/ 13135 h 4366964"/>
              <a:gd name="connsiteX3" fmla="*/ 2287960 w 2739586"/>
              <a:gd name="connsiteY3" fmla="*/ 2393478 h 4366964"/>
              <a:gd name="connsiteX4" fmla="*/ 1808635 w 2739586"/>
              <a:gd name="connsiteY4" fmla="*/ 4309365 h 4366964"/>
              <a:gd name="connsiteX0" fmla="*/ 1811335 w 2742286"/>
              <a:gd name="connsiteY0" fmla="*/ 4309365 h 4366964"/>
              <a:gd name="connsiteX1" fmla="*/ 3596 w 2742286"/>
              <a:gd name="connsiteY1" fmla="*/ 3512911 h 4366964"/>
              <a:gd name="connsiteX2" fmla="*/ 1578522 w 2742286"/>
              <a:gd name="connsiteY2" fmla="*/ 13135 h 4366964"/>
              <a:gd name="connsiteX3" fmla="*/ 2290660 w 2742286"/>
              <a:gd name="connsiteY3" fmla="*/ 2393478 h 4366964"/>
              <a:gd name="connsiteX4" fmla="*/ 1811335 w 2742286"/>
              <a:gd name="connsiteY4" fmla="*/ 4309365 h 4366964"/>
              <a:gd name="connsiteX0" fmla="*/ 2002680 w 2489494"/>
              <a:gd name="connsiteY0" fmla="*/ 4309365 h 4366964"/>
              <a:gd name="connsiteX1" fmla="*/ 3211 w 2489494"/>
              <a:gd name="connsiteY1" fmla="*/ 3512911 h 4366964"/>
              <a:gd name="connsiteX2" fmla="*/ 1769867 w 2489494"/>
              <a:gd name="connsiteY2" fmla="*/ 13135 h 4366964"/>
              <a:gd name="connsiteX3" fmla="*/ 2482005 w 2489494"/>
              <a:gd name="connsiteY3" fmla="*/ 2393478 h 4366964"/>
              <a:gd name="connsiteX4" fmla="*/ 2002680 w 2489494"/>
              <a:gd name="connsiteY4" fmla="*/ 4309365 h 4366964"/>
              <a:gd name="connsiteX0" fmla="*/ 2002680 w 2489494"/>
              <a:gd name="connsiteY0" fmla="*/ 4309365 h 5093859"/>
              <a:gd name="connsiteX1" fmla="*/ 3211 w 2489494"/>
              <a:gd name="connsiteY1" fmla="*/ 3512911 h 5093859"/>
              <a:gd name="connsiteX2" fmla="*/ 1769867 w 2489494"/>
              <a:gd name="connsiteY2" fmla="*/ 13135 h 5093859"/>
              <a:gd name="connsiteX3" fmla="*/ 2482005 w 2489494"/>
              <a:gd name="connsiteY3" fmla="*/ 2393478 h 5093859"/>
              <a:gd name="connsiteX4" fmla="*/ 2002680 w 2489494"/>
              <a:gd name="connsiteY4" fmla="*/ 4309365 h 5093859"/>
              <a:gd name="connsiteX0" fmla="*/ 2063903 w 2550717"/>
              <a:gd name="connsiteY0" fmla="*/ 4309365 h 5254406"/>
              <a:gd name="connsiteX1" fmla="*/ 64434 w 2550717"/>
              <a:gd name="connsiteY1" fmla="*/ 3512911 h 5254406"/>
              <a:gd name="connsiteX2" fmla="*/ 1831090 w 2550717"/>
              <a:gd name="connsiteY2" fmla="*/ 13135 h 5254406"/>
              <a:gd name="connsiteX3" fmla="*/ 2543228 w 2550717"/>
              <a:gd name="connsiteY3" fmla="*/ 2393478 h 5254406"/>
              <a:gd name="connsiteX4" fmla="*/ 2063903 w 2550717"/>
              <a:gd name="connsiteY4" fmla="*/ 4309365 h 5254406"/>
              <a:gd name="connsiteX0" fmla="*/ 2063903 w 2741364"/>
              <a:gd name="connsiteY0" fmla="*/ 4309365 h 5258738"/>
              <a:gd name="connsiteX1" fmla="*/ 64434 w 2741364"/>
              <a:gd name="connsiteY1" fmla="*/ 3512911 h 5258738"/>
              <a:gd name="connsiteX2" fmla="*/ 1831090 w 2741364"/>
              <a:gd name="connsiteY2" fmla="*/ 13135 h 5258738"/>
              <a:gd name="connsiteX3" fmla="*/ 2543228 w 2741364"/>
              <a:gd name="connsiteY3" fmla="*/ 2393478 h 5258738"/>
              <a:gd name="connsiteX4" fmla="*/ 2063903 w 2741364"/>
              <a:gd name="connsiteY4" fmla="*/ 4309365 h 5258738"/>
              <a:gd name="connsiteX0" fmla="*/ 2063903 w 3018492"/>
              <a:gd name="connsiteY0" fmla="*/ 4309751 h 5259124"/>
              <a:gd name="connsiteX1" fmla="*/ 64434 w 3018492"/>
              <a:gd name="connsiteY1" fmla="*/ 3513297 h 5259124"/>
              <a:gd name="connsiteX2" fmla="*/ 1831090 w 3018492"/>
              <a:gd name="connsiteY2" fmla="*/ 13521 h 5259124"/>
              <a:gd name="connsiteX3" fmla="*/ 2543228 w 3018492"/>
              <a:gd name="connsiteY3" fmla="*/ 2393864 h 5259124"/>
              <a:gd name="connsiteX4" fmla="*/ 2063903 w 3018492"/>
              <a:gd name="connsiteY4" fmla="*/ 4309751 h 5259124"/>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42523 w 2997112"/>
              <a:gd name="connsiteY0" fmla="*/ 4296504 h 4382593"/>
              <a:gd name="connsiteX1" fmla="*/ 43054 w 2997112"/>
              <a:gd name="connsiteY1" fmla="*/ 3500050 h 4382593"/>
              <a:gd name="connsiteX2" fmla="*/ 1809710 w 2997112"/>
              <a:gd name="connsiteY2" fmla="*/ 274 h 4382593"/>
              <a:gd name="connsiteX3" fmla="*/ 2521848 w 2997112"/>
              <a:gd name="connsiteY3" fmla="*/ 2380617 h 4382593"/>
              <a:gd name="connsiteX4" fmla="*/ 2042523 w 2997112"/>
              <a:gd name="connsiteY4" fmla="*/ 4296504 h 4382593"/>
              <a:gd name="connsiteX0" fmla="*/ 2167667 w 3122256"/>
              <a:gd name="connsiteY0" fmla="*/ 4297147 h 5043364"/>
              <a:gd name="connsiteX1" fmla="*/ 168198 w 3122256"/>
              <a:gd name="connsiteY1" fmla="*/ 3500693 h 5043364"/>
              <a:gd name="connsiteX2" fmla="*/ 1934854 w 3122256"/>
              <a:gd name="connsiteY2" fmla="*/ 917 h 5043364"/>
              <a:gd name="connsiteX3" fmla="*/ 2646992 w 3122256"/>
              <a:gd name="connsiteY3" fmla="*/ 2381260 h 5043364"/>
              <a:gd name="connsiteX4" fmla="*/ 2167667 w 3122256"/>
              <a:gd name="connsiteY4" fmla="*/ 4297147 h 5043364"/>
              <a:gd name="connsiteX0" fmla="*/ 2138158 w 3092747"/>
              <a:gd name="connsiteY0" fmla="*/ 4296727 h 4763056"/>
              <a:gd name="connsiteX1" fmla="*/ 138689 w 3092747"/>
              <a:gd name="connsiteY1" fmla="*/ 3500273 h 4763056"/>
              <a:gd name="connsiteX2" fmla="*/ 1905345 w 3092747"/>
              <a:gd name="connsiteY2" fmla="*/ 497 h 4763056"/>
              <a:gd name="connsiteX3" fmla="*/ 2617483 w 3092747"/>
              <a:gd name="connsiteY3" fmla="*/ 2380840 h 4763056"/>
              <a:gd name="connsiteX4" fmla="*/ 2138158 w 3092747"/>
              <a:gd name="connsiteY4" fmla="*/ 4296727 h 4763056"/>
              <a:gd name="connsiteX0" fmla="*/ 2119096 w 3073685"/>
              <a:gd name="connsiteY0" fmla="*/ 4296603 h 4576293"/>
              <a:gd name="connsiteX1" fmla="*/ 119627 w 3073685"/>
              <a:gd name="connsiteY1" fmla="*/ 3500149 h 4576293"/>
              <a:gd name="connsiteX2" fmla="*/ 1886283 w 3073685"/>
              <a:gd name="connsiteY2" fmla="*/ 373 h 4576293"/>
              <a:gd name="connsiteX3" fmla="*/ 2598421 w 3073685"/>
              <a:gd name="connsiteY3" fmla="*/ 2380716 h 4576293"/>
              <a:gd name="connsiteX4" fmla="*/ 2119096 w 3073685"/>
              <a:gd name="connsiteY4" fmla="*/ 4296603 h 4576293"/>
              <a:gd name="connsiteX0" fmla="*/ 2191767 w 2974257"/>
              <a:gd name="connsiteY0" fmla="*/ 4303484 h 4431377"/>
              <a:gd name="connsiteX1" fmla="*/ 82739 w 2974257"/>
              <a:gd name="connsiteY1" fmla="*/ 3187716 h 4431377"/>
              <a:gd name="connsiteX2" fmla="*/ 1958954 w 2974257"/>
              <a:gd name="connsiteY2" fmla="*/ 7254 h 4431377"/>
              <a:gd name="connsiteX3" fmla="*/ 2671092 w 2974257"/>
              <a:gd name="connsiteY3" fmla="*/ 2387597 h 4431377"/>
              <a:gd name="connsiteX4" fmla="*/ 2191767 w 2974257"/>
              <a:gd name="connsiteY4" fmla="*/ 4303484 h 4431377"/>
              <a:gd name="connsiteX0" fmla="*/ 2184554 w 2967044"/>
              <a:gd name="connsiteY0" fmla="*/ 4303484 h 4431377"/>
              <a:gd name="connsiteX1" fmla="*/ 75526 w 2967044"/>
              <a:gd name="connsiteY1" fmla="*/ 3187716 h 4431377"/>
              <a:gd name="connsiteX2" fmla="*/ 1951741 w 2967044"/>
              <a:gd name="connsiteY2" fmla="*/ 7254 h 4431377"/>
              <a:gd name="connsiteX3" fmla="*/ 2663879 w 2967044"/>
              <a:gd name="connsiteY3" fmla="*/ 2387597 h 4431377"/>
              <a:gd name="connsiteX4" fmla="*/ 2184554 w 2967044"/>
              <a:gd name="connsiteY4" fmla="*/ 4303484 h 4431377"/>
              <a:gd name="connsiteX0" fmla="*/ 2184554 w 2967045"/>
              <a:gd name="connsiteY0" fmla="*/ 4296686 h 4424579"/>
              <a:gd name="connsiteX1" fmla="*/ 75526 w 2967045"/>
              <a:gd name="connsiteY1" fmla="*/ 3180918 h 4424579"/>
              <a:gd name="connsiteX2" fmla="*/ 1951741 w 2967045"/>
              <a:gd name="connsiteY2" fmla="*/ 456 h 4424579"/>
              <a:gd name="connsiteX3" fmla="*/ 2663879 w 2967045"/>
              <a:gd name="connsiteY3" fmla="*/ 2380799 h 4424579"/>
              <a:gd name="connsiteX4" fmla="*/ 2184554 w 2967045"/>
              <a:gd name="connsiteY4" fmla="*/ 4296686 h 4424579"/>
              <a:gd name="connsiteX0" fmla="*/ 2184554 w 2835344"/>
              <a:gd name="connsiteY0" fmla="*/ 4296642 h 4411741"/>
              <a:gd name="connsiteX1" fmla="*/ 75526 w 2835344"/>
              <a:gd name="connsiteY1" fmla="*/ 3180874 h 4411741"/>
              <a:gd name="connsiteX2" fmla="*/ 1951741 w 2835344"/>
              <a:gd name="connsiteY2" fmla="*/ 412 h 4411741"/>
              <a:gd name="connsiteX3" fmla="*/ 2499539 w 2835344"/>
              <a:gd name="connsiteY3" fmla="*/ 2554927 h 4411741"/>
              <a:gd name="connsiteX4" fmla="*/ 2184554 w 2835344"/>
              <a:gd name="connsiteY4" fmla="*/ 4296642 h 4411741"/>
              <a:gd name="connsiteX0" fmla="*/ 2214193 w 2864983"/>
              <a:gd name="connsiteY0" fmla="*/ 4296642 h 4411741"/>
              <a:gd name="connsiteX1" fmla="*/ 105165 w 2864983"/>
              <a:gd name="connsiteY1" fmla="*/ 3180874 h 4411741"/>
              <a:gd name="connsiteX2" fmla="*/ 1981380 w 2864983"/>
              <a:gd name="connsiteY2" fmla="*/ 412 h 4411741"/>
              <a:gd name="connsiteX3" fmla="*/ 2529178 w 2864983"/>
              <a:gd name="connsiteY3" fmla="*/ 2554927 h 4411741"/>
              <a:gd name="connsiteX4" fmla="*/ 2214193 w 2864983"/>
              <a:gd name="connsiteY4" fmla="*/ 4296642 h 4411741"/>
              <a:gd name="connsiteX0" fmla="*/ 2118015 w 2768805"/>
              <a:gd name="connsiteY0" fmla="*/ 4629185 h 4744284"/>
              <a:gd name="connsiteX1" fmla="*/ 8987 w 2768805"/>
              <a:gd name="connsiteY1" fmla="*/ 3513417 h 4744284"/>
              <a:gd name="connsiteX2" fmla="*/ 1378485 w 2768805"/>
              <a:gd name="connsiteY2" fmla="*/ 378332 h 4744284"/>
              <a:gd name="connsiteX3" fmla="*/ 1885202 w 2768805"/>
              <a:gd name="connsiteY3" fmla="*/ 332955 h 4744284"/>
              <a:gd name="connsiteX4" fmla="*/ 2433000 w 2768805"/>
              <a:gd name="connsiteY4" fmla="*/ 2887470 h 4744284"/>
              <a:gd name="connsiteX5" fmla="*/ 2118015 w 2768805"/>
              <a:gd name="connsiteY5" fmla="*/ 4629185 h 4744284"/>
              <a:gd name="connsiteX0" fmla="*/ 2118694 w 2496667"/>
              <a:gd name="connsiteY0" fmla="*/ 4254974 h 4370073"/>
              <a:gd name="connsiteX1" fmla="*/ 9666 w 2496667"/>
              <a:gd name="connsiteY1" fmla="*/ 3139206 h 4370073"/>
              <a:gd name="connsiteX2" fmla="*/ 1379164 w 2496667"/>
              <a:gd name="connsiteY2" fmla="*/ 4121 h 4370073"/>
              <a:gd name="connsiteX3" fmla="*/ 2433679 w 2496667"/>
              <a:gd name="connsiteY3" fmla="*/ 2513259 h 4370073"/>
              <a:gd name="connsiteX4" fmla="*/ 2118694 w 2496667"/>
              <a:gd name="connsiteY4" fmla="*/ 4254974 h 4370073"/>
              <a:gd name="connsiteX0" fmla="*/ 2118694 w 2496667"/>
              <a:gd name="connsiteY0" fmla="*/ 4257419 h 4372518"/>
              <a:gd name="connsiteX1" fmla="*/ 9666 w 2496667"/>
              <a:gd name="connsiteY1" fmla="*/ 3141651 h 4372518"/>
              <a:gd name="connsiteX2" fmla="*/ 1379164 w 2496667"/>
              <a:gd name="connsiteY2" fmla="*/ 6566 h 4372518"/>
              <a:gd name="connsiteX3" fmla="*/ 2433679 w 2496667"/>
              <a:gd name="connsiteY3" fmla="*/ 2515704 h 4372518"/>
              <a:gd name="connsiteX4" fmla="*/ 2118694 w 2496667"/>
              <a:gd name="connsiteY4" fmla="*/ 4257419 h 4372518"/>
              <a:gd name="connsiteX0" fmla="*/ 2146367 w 2524340"/>
              <a:gd name="connsiteY0" fmla="*/ 4257419 h 4372518"/>
              <a:gd name="connsiteX1" fmla="*/ 37339 w 2524340"/>
              <a:gd name="connsiteY1" fmla="*/ 3141651 h 4372518"/>
              <a:gd name="connsiteX2" fmla="*/ 1406837 w 2524340"/>
              <a:gd name="connsiteY2" fmla="*/ 6566 h 4372518"/>
              <a:gd name="connsiteX3" fmla="*/ 2461352 w 2524340"/>
              <a:gd name="connsiteY3" fmla="*/ 2515704 h 4372518"/>
              <a:gd name="connsiteX4" fmla="*/ 2146367 w 2524340"/>
              <a:gd name="connsiteY4" fmla="*/ 4257419 h 4372518"/>
              <a:gd name="connsiteX0" fmla="*/ 2155590 w 2533563"/>
              <a:gd name="connsiteY0" fmla="*/ 4257419 h 4372518"/>
              <a:gd name="connsiteX1" fmla="*/ 46562 w 2533563"/>
              <a:gd name="connsiteY1" fmla="*/ 3141651 h 4372518"/>
              <a:gd name="connsiteX2" fmla="*/ 1416060 w 2533563"/>
              <a:gd name="connsiteY2" fmla="*/ 6566 h 4372518"/>
              <a:gd name="connsiteX3" fmla="*/ 2470575 w 2533563"/>
              <a:gd name="connsiteY3" fmla="*/ 2515704 h 4372518"/>
              <a:gd name="connsiteX4" fmla="*/ 2155590 w 2533563"/>
              <a:gd name="connsiteY4" fmla="*/ 4257419 h 4372518"/>
              <a:gd name="connsiteX0" fmla="*/ 2187338 w 2568687"/>
              <a:gd name="connsiteY0" fmla="*/ 4250975 h 4366074"/>
              <a:gd name="connsiteX1" fmla="*/ 78310 w 2568687"/>
              <a:gd name="connsiteY1" fmla="*/ 3135207 h 4366074"/>
              <a:gd name="connsiteX2" fmla="*/ 1447808 w 2568687"/>
              <a:gd name="connsiteY2" fmla="*/ 122 h 4366074"/>
              <a:gd name="connsiteX3" fmla="*/ 2502323 w 2568687"/>
              <a:gd name="connsiteY3" fmla="*/ 2509260 h 4366074"/>
              <a:gd name="connsiteX4" fmla="*/ 2187338 w 2568687"/>
              <a:gd name="connsiteY4" fmla="*/ 4250975 h 4366074"/>
              <a:gd name="connsiteX0" fmla="*/ 2527372 w 2921452"/>
              <a:gd name="connsiteY0" fmla="*/ 4253945 h 4337879"/>
              <a:gd name="connsiteX1" fmla="*/ 7494 w 2921452"/>
              <a:gd name="connsiteY1" fmla="*/ 3051092 h 4337879"/>
              <a:gd name="connsiteX2" fmla="*/ 1787842 w 2921452"/>
              <a:gd name="connsiteY2" fmla="*/ 3092 h 4337879"/>
              <a:gd name="connsiteX3" fmla="*/ 2842357 w 2921452"/>
              <a:gd name="connsiteY3" fmla="*/ 2512230 h 4337879"/>
              <a:gd name="connsiteX4" fmla="*/ 2527372 w 2921452"/>
              <a:gd name="connsiteY4" fmla="*/ 4253945 h 4337879"/>
              <a:gd name="connsiteX0" fmla="*/ 2557170 w 2951250"/>
              <a:gd name="connsiteY0" fmla="*/ 4253945 h 4337879"/>
              <a:gd name="connsiteX1" fmla="*/ 37292 w 2951250"/>
              <a:gd name="connsiteY1" fmla="*/ 3051092 h 4337879"/>
              <a:gd name="connsiteX2" fmla="*/ 1817640 w 2951250"/>
              <a:gd name="connsiteY2" fmla="*/ 3092 h 4337879"/>
              <a:gd name="connsiteX3" fmla="*/ 2872155 w 2951250"/>
              <a:gd name="connsiteY3" fmla="*/ 2512230 h 4337879"/>
              <a:gd name="connsiteX4" fmla="*/ 2557170 w 2951250"/>
              <a:gd name="connsiteY4" fmla="*/ 4253945 h 4337879"/>
              <a:gd name="connsiteX0" fmla="*/ 2593916 w 2987996"/>
              <a:gd name="connsiteY0" fmla="*/ 4252307 h 4336241"/>
              <a:gd name="connsiteX1" fmla="*/ 74038 w 2987996"/>
              <a:gd name="connsiteY1" fmla="*/ 3049454 h 4336241"/>
              <a:gd name="connsiteX2" fmla="*/ 1854386 w 2987996"/>
              <a:gd name="connsiteY2" fmla="*/ 1454 h 4336241"/>
              <a:gd name="connsiteX3" fmla="*/ 2908901 w 2987996"/>
              <a:gd name="connsiteY3" fmla="*/ 2510592 h 4336241"/>
              <a:gd name="connsiteX4" fmla="*/ 2593916 w 2987996"/>
              <a:gd name="connsiteY4" fmla="*/ 4252307 h 4336241"/>
              <a:gd name="connsiteX0" fmla="*/ 2556467 w 2816451"/>
              <a:gd name="connsiteY0" fmla="*/ 4253945 h 4337879"/>
              <a:gd name="connsiteX1" fmla="*/ 36589 w 2816451"/>
              <a:gd name="connsiteY1" fmla="*/ 3051092 h 4337879"/>
              <a:gd name="connsiteX2" fmla="*/ 1816937 w 2816451"/>
              <a:gd name="connsiteY2" fmla="*/ 3092 h 4337879"/>
              <a:gd name="connsiteX3" fmla="*/ 2652332 w 2816451"/>
              <a:gd name="connsiteY3" fmla="*/ 2512230 h 4337879"/>
              <a:gd name="connsiteX4" fmla="*/ 2556467 w 2816451"/>
              <a:gd name="connsiteY4" fmla="*/ 4253945 h 4337879"/>
              <a:gd name="connsiteX0" fmla="*/ 2556467 w 2829183"/>
              <a:gd name="connsiteY0" fmla="*/ 4266741 h 4350675"/>
              <a:gd name="connsiteX1" fmla="*/ 36589 w 2829183"/>
              <a:gd name="connsiteY1" fmla="*/ 3063888 h 4350675"/>
              <a:gd name="connsiteX2" fmla="*/ 1816937 w 2829183"/>
              <a:gd name="connsiteY2" fmla="*/ 15888 h 4350675"/>
              <a:gd name="connsiteX3" fmla="*/ 2652332 w 2829183"/>
              <a:gd name="connsiteY3" fmla="*/ 2525026 h 4350675"/>
              <a:gd name="connsiteX4" fmla="*/ 2556467 w 2829183"/>
              <a:gd name="connsiteY4" fmla="*/ 4266741 h 4350675"/>
              <a:gd name="connsiteX0" fmla="*/ 2556467 w 2829183"/>
              <a:gd name="connsiteY0" fmla="*/ 4266741 h 4628058"/>
              <a:gd name="connsiteX1" fmla="*/ 36589 w 2829183"/>
              <a:gd name="connsiteY1" fmla="*/ 3063888 h 4628058"/>
              <a:gd name="connsiteX2" fmla="*/ 1816937 w 2829183"/>
              <a:gd name="connsiteY2" fmla="*/ 15888 h 4628058"/>
              <a:gd name="connsiteX3" fmla="*/ 2652332 w 2829183"/>
              <a:gd name="connsiteY3" fmla="*/ 2525026 h 4628058"/>
              <a:gd name="connsiteX4" fmla="*/ 2556467 w 2829183"/>
              <a:gd name="connsiteY4" fmla="*/ 4266741 h 4628058"/>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57076"/>
              <a:gd name="connsiteY0" fmla="*/ 4292266 h 4935268"/>
              <a:gd name="connsiteX1" fmla="*/ 35744 w 2657076"/>
              <a:gd name="connsiteY1" fmla="*/ 3089413 h 4935268"/>
              <a:gd name="connsiteX2" fmla="*/ 1816092 w 2657076"/>
              <a:gd name="connsiteY2" fmla="*/ 41413 h 4935268"/>
              <a:gd name="connsiteX3" fmla="*/ 2377587 w 2657076"/>
              <a:gd name="connsiteY3" fmla="*/ 2318322 h 4935268"/>
              <a:gd name="connsiteX4" fmla="*/ 2555622 w 2657076"/>
              <a:gd name="connsiteY4" fmla="*/ 4292266 h 4935268"/>
              <a:gd name="connsiteX0" fmla="*/ 2866282 w 2966955"/>
              <a:gd name="connsiteY0" fmla="*/ 4282720 h 4338151"/>
              <a:gd name="connsiteX1" fmla="*/ 31418 w 2966955"/>
              <a:gd name="connsiteY1" fmla="*/ 2920210 h 4338151"/>
              <a:gd name="connsiteX2" fmla="*/ 2126752 w 2966955"/>
              <a:gd name="connsiteY2" fmla="*/ 31867 h 4338151"/>
              <a:gd name="connsiteX3" fmla="*/ 2688247 w 2966955"/>
              <a:gd name="connsiteY3" fmla="*/ 2308776 h 4338151"/>
              <a:gd name="connsiteX4" fmla="*/ 2866282 w 2966955"/>
              <a:gd name="connsiteY4" fmla="*/ 4282720 h 4338151"/>
              <a:gd name="connsiteX0" fmla="*/ 2876333 w 3034879"/>
              <a:gd name="connsiteY0" fmla="*/ 4254125 h 4309556"/>
              <a:gd name="connsiteX1" fmla="*/ 41469 w 3034879"/>
              <a:gd name="connsiteY1" fmla="*/ 2891615 h 4309556"/>
              <a:gd name="connsiteX2" fmla="*/ 2136803 w 3034879"/>
              <a:gd name="connsiteY2" fmla="*/ 3272 h 4309556"/>
              <a:gd name="connsiteX3" fmla="*/ 2698298 w 3034879"/>
              <a:gd name="connsiteY3" fmla="*/ 2280181 h 4309556"/>
              <a:gd name="connsiteX4" fmla="*/ 2876333 w 3034879"/>
              <a:gd name="connsiteY4" fmla="*/ 4254125 h 4309556"/>
              <a:gd name="connsiteX0" fmla="*/ 2890028 w 3067706"/>
              <a:gd name="connsiteY0" fmla="*/ 4471840 h 4501406"/>
              <a:gd name="connsiteX1" fmla="*/ 41469 w 3067706"/>
              <a:gd name="connsiteY1" fmla="*/ 2891615 h 4501406"/>
              <a:gd name="connsiteX2" fmla="*/ 2136803 w 3067706"/>
              <a:gd name="connsiteY2" fmla="*/ 3272 h 4501406"/>
              <a:gd name="connsiteX3" fmla="*/ 2698298 w 3067706"/>
              <a:gd name="connsiteY3" fmla="*/ 2280181 h 4501406"/>
              <a:gd name="connsiteX4" fmla="*/ 2890028 w 3067706"/>
              <a:gd name="connsiteY4" fmla="*/ 4471840 h 4501406"/>
              <a:gd name="connsiteX0" fmla="*/ 2890028 w 3267321"/>
              <a:gd name="connsiteY0" fmla="*/ 4471840 h 4757538"/>
              <a:gd name="connsiteX1" fmla="*/ 41469 w 3267321"/>
              <a:gd name="connsiteY1" fmla="*/ 2891615 h 4757538"/>
              <a:gd name="connsiteX2" fmla="*/ 2136803 w 3267321"/>
              <a:gd name="connsiteY2" fmla="*/ 3272 h 4757538"/>
              <a:gd name="connsiteX3" fmla="*/ 2698298 w 3267321"/>
              <a:gd name="connsiteY3" fmla="*/ 2280181 h 4757538"/>
              <a:gd name="connsiteX4" fmla="*/ 2890028 w 3267321"/>
              <a:gd name="connsiteY4" fmla="*/ 4471840 h 4757538"/>
              <a:gd name="connsiteX0" fmla="*/ 2890028 w 3146150"/>
              <a:gd name="connsiteY0" fmla="*/ 4471840 h 4664576"/>
              <a:gd name="connsiteX1" fmla="*/ 41469 w 3146150"/>
              <a:gd name="connsiteY1" fmla="*/ 2891615 h 4664576"/>
              <a:gd name="connsiteX2" fmla="*/ 2136803 w 3146150"/>
              <a:gd name="connsiteY2" fmla="*/ 3272 h 4664576"/>
              <a:gd name="connsiteX3" fmla="*/ 2698298 w 3146150"/>
              <a:gd name="connsiteY3" fmla="*/ 2280181 h 4664576"/>
              <a:gd name="connsiteX4" fmla="*/ 2890028 w 3146150"/>
              <a:gd name="connsiteY4" fmla="*/ 4471840 h 4664576"/>
              <a:gd name="connsiteX0" fmla="*/ 2880916 w 3137038"/>
              <a:gd name="connsiteY0" fmla="*/ 4476871 h 4669607"/>
              <a:gd name="connsiteX1" fmla="*/ 32357 w 3137038"/>
              <a:gd name="connsiteY1" fmla="*/ 2896646 h 4669607"/>
              <a:gd name="connsiteX2" fmla="*/ 2127691 w 3137038"/>
              <a:gd name="connsiteY2" fmla="*/ 8303 h 4669607"/>
              <a:gd name="connsiteX3" fmla="*/ 2689186 w 3137038"/>
              <a:gd name="connsiteY3" fmla="*/ 2285212 h 4669607"/>
              <a:gd name="connsiteX4" fmla="*/ 2880916 w 3137038"/>
              <a:gd name="connsiteY4" fmla="*/ 4476871 h 4669607"/>
              <a:gd name="connsiteX0" fmla="*/ 3076373 w 3269102"/>
              <a:gd name="connsiteY0" fmla="*/ 4473977 h 4512269"/>
              <a:gd name="connsiteX1" fmla="*/ 22390 w 3269102"/>
              <a:gd name="connsiteY1" fmla="*/ 2951809 h 4512269"/>
              <a:gd name="connsiteX2" fmla="*/ 2323148 w 3269102"/>
              <a:gd name="connsiteY2" fmla="*/ 5409 h 4512269"/>
              <a:gd name="connsiteX3" fmla="*/ 2884643 w 3269102"/>
              <a:gd name="connsiteY3" fmla="*/ 2282318 h 4512269"/>
              <a:gd name="connsiteX4" fmla="*/ 3076373 w 3269102"/>
              <a:gd name="connsiteY4" fmla="*/ 4473977 h 4512269"/>
              <a:gd name="connsiteX0" fmla="*/ 3122406 w 3315135"/>
              <a:gd name="connsiteY0" fmla="*/ 4473977 h 4512269"/>
              <a:gd name="connsiteX1" fmla="*/ 68423 w 3315135"/>
              <a:gd name="connsiteY1" fmla="*/ 2951809 h 4512269"/>
              <a:gd name="connsiteX2" fmla="*/ 2369181 w 3315135"/>
              <a:gd name="connsiteY2" fmla="*/ 5409 h 4512269"/>
              <a:gd name="connsiteX3" fmla="*/ 2930676 w 3315135"/>
              <a:gd name="connsiteY3" fmla="*/ 2282318 h 4512269"/>
              <a:gd name="connsiteX4" fmla="*/ 3122406 w 3315135"/>
              <a:gd name="connsiteY4" fmla="*/ 4473977 h 4512269"/>
              <a:gd name="connsiteX0" fmla="*/ 3122406 w 3424734"/>
              <a:gd name="connsiteY0" fmla="*/ 4475173 h 4513465"/>
              <a:gd name="connsiteX1" fmla="*/ 68423 w 3424734"/>
              <a:gd name="connsiteY1" fmla="*/ 2953005 h 4513465"/>
              <a:gd name="connsiteX2" fmla="*/ 2369181 w 3424734"/>
              <a:gd name="connsiteY2" fmla="*/ 6605 h 4513465"/>
              <a:gd name="connsiteX3" fmla="*/ 2930676 w 3424734"/>
              <a:gd name="connsiteY3" fmla="*/ 2283514 h 4513465"/>
              <a:gd name="connsiteX4" fmla="*/ 3122406 w 3424734"/>
              <a:gd name="connsiteY4" fmla="*/ 4475173 h 4513465"/>
              <a:gd name="connsiteX0" fmla="*/ 3136022 w 3438350"/>
              <a:gd name="connsiteY0" fmla="*/ 4475247 h 4513539"/>
              <a:gd name="connsiteX1" fmla="*/ 82039 w 3438350"/>
              <a:gd name="connsiteY1" fmla="*/ 2953079 h 4513539"/>
              <a:gd name="connsiteX2" fmla="*/ 2382797 w 3438350"/>
              <a:gd name="connsiteY2" fmla="*/ 6679 h 4513539"/>
              <a:gd name="connsiteX3" fmla="*/ 2944292 w 3438350"/>
              <a:gd name="connsiteY3" fmla="*/ 2283588 h 4513539"/>
              <a:gd name="connsiteX4" fmla="*/ 3136022 w 3438350"/>
              <a:gd name="connsiteY4" fmla="*/ 4475247 h 4513539"/>
              <a:gd name="connsiteX0" fmla="*/ 3136022 w 3328751"/>
              <a:gd name="connsiteY0" fmla="*/ 4733434 h 4771726"/>
              <a:gd name="connsiteX1" fmla="*/ 82039 w 3328751"/>
              <a:gd name="connsiteY1" fmla="*/ 3211266 h 4771726"/>
              <a:gd name="connsiteX2" fmla="*/ 2382797 w 3328751"/>
              <a:gd name="connsiteY2" fmla="*/ 3609 h 4771726"/>
              <a:gd name="connsiteX3" fmla="*/ 2944292 w 3328751"/>
              <a:gd name="connsiteY3" fmla="*/ 2541775 h 4771726"/>
              <a:gd name="connsiteX4" fmla="*/ 3136022 w 3328751"/>
              <a:gd name="connsiteY4" fmla="*/ 4733434 h 4771726"/>
              <a:gd name="connsiteX0" fmla="*/ 3219050 w 3411779"/>
              <a:gd name="connsiteY0" fmla="*/ 4733434 h 4770072"/>
              <a:gd name="connsiteX1" fmla="*/ 521138 w 3411779"/>
              <a:gd name="connsiteY1" fmla="*/ 3864411 h 4770072"/>
              <a:gd name="connsiteX2" fmla="*/ 165067 w 3411779"/>
              <a:gd name="connsiteY2" fmla="*/ 3211266 h 4770072"/>
              <a:gd name="connsiteX3" fmla="*/ 2465825 w 3411779"/>
              <a:gd name="connsiteY3" fmla="*/ 3609 h 4770072"/>
              <a:gd name="connsiteX4" fmla="*/ 3027320 w 3411779"/>
              <a:gd name="connsiteY4" fmla="*/ 2541775 h 4770072"/>
              <a:gd name="connsiteX5" fmla="*/ 3219050 w 3411779"/>
              <a:gd name="connsiteY5" fmla="*/ 4733434 h 4770072"/>
              <a:gd name="connsiteX0" fmla="*/ 2704699 w 2897428"/>
              <a:gd name="connsiteY0" fmla="*/ 4746917 h 4817117"/>
              <a:gd name="connsiteX1" fmla="*/ 6787 w 2897428"/>
              <a:gd name="connsiteY1" fmla="*/ 3877894 h 4817117"/>
              <a:gd name="connsiteX2" fmla="*/ 1951474 w 2897428"/>
              <a:gd name="connsiteY2" fmla="*/ 17092 h 4817117"/>
              <a:gd name="connsiteX3" fmla="*/ 2512969 w 2897428"/>
              <a:gd name="connsiteY3" fmla="*/ 2555258 h 4817117"/>
              <a:gd name="connsiteX4" fmla="*/ 2704699 w 2897428"/>
              <a:gd name="connsiteY4" fmla="*/ 4746917 h 4817117"/>
              <a:gd name="connsiteX0" fmla="*/ 2993434 w 3186163"/>
              <a:gd name="connsiteY0" fmla="*/ 4746917 h 4817117"/>
              <a:gd name="connsiteX1" fmla="*/ 295522 w 3186163"/>
              <a:gd name="connsiteY1" fmla="*/ 3877894 h 4817117"/>
              <a:gd name="connsiteX2" fmla="*/ 2240209 w 3186163"/>
              <a:gd name="connsiteY2" fmla="*/ 17092 h 4817117"/>
              <a:gd name="connsiteX3" fmla="*/ 2801704 w 3186163"/>
              <a:gd name="connsiteY3" fmla="*/ 2555258 h 4817117"/>
              <a:gd name="connsiteX4" fmla="*/ 2993434 w 3186163"/>
              <a:gd name="connsiteY4" fmla="*/ 4746917 h 4817117"/>
              <a:gd name="connsiteX0" fmla="*/ 2993434 w 3186163"/>
              <a:gd name="connsiteY0" fmla="*/ 4746917 h 5504003"/>
              <a:gd name="connsiteX1" fmla="*/ 295522 w 3186163"/>
              <a:gd name="connsiteY1" fmla="*/ 3877894 h 5504003"/>
              <a:gd name="connsiteX2" fmla="*/ 2240209 w 3186163"/>
              <a:gd name="connsiteY2" fmla="*/ 17092 h 5504003"/>
              <a:gd name="connsiteX3" fmla="*/ 2801704 w 3186163"/>
              <a:gd name="connsiteY3" fmla="*/ 2555258 h 5504003"/>
              <a:gd name="connsiteX4" fmla="*/ 2993434 w 3186163"/>
              <a:gd name="connsiteY4" fmla="*/ 4746917 h 5504003"/>
              <a:gd name="connsiteX0" fmla="*/ 2889489 w 3082218"/>
              <a:gd name="connsiteY0" fmla="*/ 4746917 h 5016970"/>
              <a:gd name="connsiteX1" fmla="*/ 191577 w 3082218"/>
              <a:gd name="connsiteY1" fmla="*/ 3877894 h 5016970"/>
              <a:gd name="connsiteX2" fmla="*/ 2136264 w 3082218"/>
              <a:gd name="connsiteY2" fmla="*/ 17092 h 5016970"/>
              <a:gd name="connsiteX3" fmla="*/ 2697759 w 3082218"/>
              <a:gd name="connsiteY3" fmla="*/ 2555258 h 5016970"/>
              <a:gd name="connsiteX4" fmla="*/ 2889489 w 3082218"/>
              <a:gd name="connsiteY4" fmla="*/ 4746917 h 5016970"/>
              <a:gd name="connsiteX0" fmla="*/ 2970465 w 3163194"/>
              <a:gd name="connsiteY0" fmla="*/ 4744919 h 5014972"/>
              <a:gd name="connsiteX1" fmla="*/ 272553 w 3163194"/>
              <a:gd name="connsiteY1" fmla="*/ 3875896 h 5014972"/>
              <a:gd name="connsiteX2" fmla="*/ 2217240 w 3163194"/>
              <a:gd name="connsiteY2" fmla="*/ 15094 h 5014972"/>
              <a:gd name="connsiteX3" fmla="*/ 2778735 w 3163194"/>
              <a:gd name="connsiteY3" fmla="*/ 2553260 h 5014972"/>
              <a:gd name="connsiteX4" fmla="*/ 2970465 w 3163194"/>
              <a:gd name="connsiteY4" fmla="*/ 4744919 h 5014972"/>
              <a:gd name="connsiteX0" fmla="*/ 2971967 w 3164696"/>
              <a:gd name="connsiteY0" fmla="*/ 4732890 h 5002943"/>
              <a:gd name="connsiteX1" fmla="*/ 274055 w 3164696"/>
              <a:gd name="connsiteY1" fmla="*/ 3863867 h 5002943"/>
              <a:gd name="connsiteX2" fmla="*/ 2218742 w 3164696"/>
              <a:gd name="connsiteY2" fmla="*/ 3065 h 5002943"/>
              <a:gd name="connsiteX3" fmla="*/ 2780237 w 3164696"/>
              <a:gd name="connsiteY3" fmla="*/ 2541231 h 5002943"/>
              <a:gd name="connsiteX4" fmla="*/ 2971967 w 3164696"/>
              <a:gd name="connsiteY4" fmla="*/ 4732890 h 5002943"/>
              <a:gd name="connsiteX0" fmla="*/ 2971967 w 3237162"/>
              <a:gd name="connsiteY0" fmla="*/ 4732890 h 5193945"/>
              <a:gd name="connsiteX1" fmla="*/ 274055 w 3237162"/>
              <a:gd name="connsiteY1" fmla="*/ 3863867 h 5193945"/>
              <a:gd name="connsiteX2" fmla="*/ 2218742 w 3237162"/>
              <a:gd name="connsiteY2" fmla="*/ 3065 h 5193945"/>
              <a:gd name="connsiteX3" fmla="*/ 2780237 w 3237162"/>
              <a:gd name="connsiteY3" fmla="*/ 2541231 h 5193945"/>
              <a:gd name="connsiteX4" fmla="*/ 2971967 w 3237162"/>
              <a:gd name="connsiteY4" fmla="*/ 4732890 h 5193945"/>
              <a:gd name="connsiteX0" fmla="*/ 2971967 w 3237162"/>
              <a:gd name="connsiteY0" fmla="*/ 4732890 h 5193945"/>
              <a:gd name="connsiteX1" fmla="*/ 274055 w 3237162"/>
              <a:gd name="connsiteY1" fmla="*/ 3863867 h 5193945"/>
              <a:gd name="connsiteX2" fmla="*/ 2218742 w 3237162"/>
              <a:gd name="connsiteY2" fmla="*/ 3065 h 5193945"/>
              <a:gd name="connsiteX3" fmla="*/ 2780237 w 3237162"/>
              <a:gd name="connsiteY3" fmla="*/ 2541231 h 5193945"/>
              <a:gd name="connsiteX4" fmla="*/ 2971967 w 3237162"/>
              <a:gd name="connsiteY4" fmla="*/ 4732890 h 5193945"/>
              <a:gd name="connsiteX0" fmla="*/ 2971967 w 3285599"/>
              <a:gd name="connsiteY0" fmla="*/ 4732890 h 5224991"/>
              <a:gd name="connsiteX1" fmla="*/ 274055 w 3285599"/>
              <a:gd name="connsiteY1" fmla="*/ 3863867 h 5224991"/>
              <a:gd name="connsiteX2" fmla="*/ 2218742 w 3285599"/>
              <a:gd name="connsiteY2" fmla="*/ 3065 h 5224991"/>
              <a:gd name="connsiteX3" fmla="*/ 2780237 w 3285599"/>
              <a:gd name="connsiteY3" fmla="*/ 2541231 h 5224991"/>
              <a:gd name="connsiteX4" fmla="*/ 2971967 w 3285599"/>
              <a:gd name="connsiteY4" fmla="*/ 4732890 h 5224991"/>
              <a:gd name="connsiteX0" fmla="*/ 2930585 w 3244217"/>
              <a:gd name="connsiteY0" fmla="*/ 4733812 h 5225913"/>
              <a:gd name="connsiteX1" fmla="*/ 232673 w 3244217"/>
              <a:gd name="connsiteY1" fmla="*/ 3864789 h 5225913"/>
              <a:gd name="connsiteX2" fmla="*/ 2177360 w 3244217"/>
              <a:gd name="connsiteY2" fmla="*/ 3987 h 5225913"/>
              <a:gd name="connsiteX3" fmla="*/ 2738855 w 3244217"/>
              <a:gd name="connsiteY3" fmla="*/ 2542153 h 5225913"/>
              <a:gd name="connsiteX4" fmla="*/ 2930585 w 3244217"/>
              <a:gd name="connsiteY4" fmla="*/ 4733812 h 5225913"/>
              <a:gd name="connsiteX0" fmla="*/ 2962999 w 3276631"/>
              <a:gd name="connsiteY0" fmla="*/ 4735983 h 5228084"/>
              <a:gd name="connsiteX1" fmla="*/ 265087 w 3276631"/>
              <a:gd name="connsiteY1" fmla="*/ 3866960 h 5228084"/>
              <a:gd name="connsiteX2" fmla="*/ 2209774 w 3276631"/>
              <a:gd name="connsiteY2" fmla="*/ 6158 h 5228084"/>
              <a:gd name="connsiteX3" fmla="*/ 2771269 w 3276631"/>
              <a:gd name="connsiteY3" fmla="*/ 2544324 h 5228084"/>
              <a:gd name="connsiteX4" fmla="*/ 2962999 w 3276631"/>
              <a:gd name="connsiteY4" fmla="*/ 4735983 h 5228084"/>
              <a:gd name="connsiteX0" fmla="*/ 2945341 w 3258973"/>
              <a:gd name="connsiteY0" fmla="*/ 4737226 h 5229327"/>
              <a:gd name="connsiteX1" fmla="*/ 247429 w 3258973"/>
              <a:gd name="connsiteY1" fmla="*/ 3868203 h 5229327"/>
              <a:gd name="connsiteX2" fmla="*/ 2192116 w 3258973"/>
              <a:gd name="connsiteY2" fmla="*/ 7401 h 5229327"/>
              <a:gd name="connsiteX3" fmla="*/ 2753611 w 3258973"/>
              <a:gd name="connsiteY3" fmla="*/ 2545567 h 5229327"/>
              <a:gd name="connsiteX4" fmla="*/ 2945341 w 3258973"/>
              <a:gd name="connsiteY4" fmla="*/ 4737226 h 5229327"/>
              <a:gd name="connsiteX0" fmla="*/ 2975962 w 3289594"/>
              <a:gd name="connsiteY0" fmla="*/ 4743165 h 5235266"/>
              <a:gd name="connsiteX1" fmla="*/ 278050 w 3289594"/>
              <a:gd name="connsiteY1" fmla="*/ 3874142 h 5235266"/>
              <a:gd name="connsiteX2" fmla="*/ 2222737 w 3289594"/>
              <a:gd name="connsiteY2" fmla="*/ 13340 h 5235266"/>
              <a:gd name="connsiteX3" fmla="*/ 2784232 w 3289594"/>
              <a:gd name="connsiteY3" fmla="*/ 2551506 h 5235266"/>
              <a:gd name="connsiteX4" fmla="*/ 2975962 w 3289594"/>
              <a:gd name="connsiteY4" fmla="*/ 4743165 h 5235266"/>
              <a:gd name="connsiteX0" fmla="*/ 2975962 w 3289594"/>
              <a:gd name="connsiteY0" fmla="*/ 4743165 h 5235266"/>
              <a:gd name="connsiteX1" fmla="*/ 278050 w 3289594"/>
              <a:gd name="connsiteY1" fmla="*/ 3874142 h 5235266"/>
              <a:gd name="connsiteX2" fmla="*/ 2222737 w 3289594"/>
              <a:gd name="connsiteY2" fmla="*/ 13340 h 5235266"/>
              <a:gd name="connsiteX3" fmla="*/ 2784232 w 3289594"/>
              <a:gd name="connsiteY3" fmla="*/ 2551506 h 5235266"/>
              <a:gd name="connsiteX4" fmla="*/ 2975962 w 3289594"/>
              <a:gd name="connsiteY4" fmla="*/ 4743165 h 5235266"/>
              <a:gd name="connsiteX0" fmla="*/ 2914486 w 3228118"/>
              <a:gd name="connsiteY0" fmla="*/ 4743093 h 5230909"/>
              <a:gd name="connsiteX1" fmla="*/ 216574 w 3228118"/>
              <a:gd name="connsiteY1" fmla="*/ 3874070 h 5230909"/>
              <a:gd name="connsiteX2" fmla="*/ 2161261 w 3228118"/>
              <a:gd name="connsiteY2" fmla="*/ 13268 h 5230909"/>
              <a:gd name="connsiteX3" fmla="*/ 2722756 w 3228118"/>
              <a:gd name="connsiteY3" fmla="*/ 2551434 h 5230909"/>
              <a:gd name="connsiteX4" fmla="*/ 2914486 w 3228118"/>
              <a:gd name="connsiteY4" fmla="*/ 4743093 h 5230909"/>
              <a:gd name="connsiteX0" fmla="*/ 3053850 w 3231869"/>
              <a:gd name="connsiteY0" fmla="*/ 4742601 h 5060236"/>
              <a:gd name="connsiteX1" fmla="*/ 200625 w 3231869"/>
              <a:gd name="connsiteY1" fmla="*/ 3975178 h 5060236"/>
              <a:gd name="connsiteX2" fmla="*/ 2300625 w 3231869"/>
              <a:gd name="connsiteY2" fmla="*/ 12776 h 5060236"/>
              <a:gd name="connsiteX3" fmla="*/ 2862120 w 3231869"/>
              <a:gd name="connsiteY3" fmla="*/ 2550942 h 5060236"/>
              <a:gd name="connsiteX4" fmla="*/ 3053850 w 3231869"/>
              <a:gd name="connsiteY4" fmla="*/ 4742601 h 5060236"/>
              <a:gd name="connsiteX0" fmla="*/ 3053850 w 3279200"/>
              <a:gd name="connsiteY0" fmla="*/ 4742601 h 5206293"/>
              <a:gd name="connsiteX1" fmla="*/ 200625 w 3279200"/>
              <a:gd name="connsiteY1" fmla="*/ 3975178 h 5206293"/>
              <a:gd name="connsiteX2" fmla="*/ 2300625 w 3279200"/>
              <a:gd name="connsiteY2" fmla="*/ 12776 h 5206293"/>
              <a:gd name="connsiteX3" fmla="*/ 2862120 w 3279200"/>
              <a:gd name="connsiteY3" fmla="*/ 2550942 h 5206293"/>
              <a:gd name="connsiteX4" fmla="*/ 3053850 w 3279200"/>
              <a:gd name="connsiteY4" fmla="*/ 4742601 h 5206293"/>
              <a:gd name="connsiteX0" fmla="*/ 3093528 w 3318878"/>
              <a:gd name="connsiteY0" fmla="*/ 4745978 h 5209670"/>
              <a:gd name="connsiteX1" fmla="*/ 240303 w 3318878"/>
              <a:gd name="connsiteY1" fmla="*/ 3978555 h 5209670"/>
              <a:gd name="connsiteX2" fmla="*/ 2340303 w 3318878"/>
              <a:gd name="connsiteY2" fmla="*/ 16153 h 5209670"/>
              <a:gd name="connsiteX3" fmla="*/ 2901798 w 3318878"/>
              <a:gd name="connsiteY3" fmla="*/ 2554319 h 5209670"/>
              <a:gd name="connsiteX4" fmla="*/ 3093528 w 3318878"/>
              <a:gd name="connsiteY4" fmla="*/ 4745978 h 5209670"/>
              <a:gd name="connsiteX0" fmla="*/ 3093528 w 3318878"/>
              <a:gd name="connsiteY0" fmla="*/ 4745978 h 5209670"/>
              <a:gd name="connsiteX1" fmla="*/ 240303 w 3318878"/>
              <a:gd name="connsiteY1" fmla="*/ 3978555 h 5209670"/>
              <a:gd name="connsiteX2" fmla="*/ 2340303 w 3318878"/>
              <a:gd name="connsiteY2" fmla="*/ 16153 h 5209670"/>
              <a:gd name="connsiteX3" fmla="*/ 2901798 w 3318878"/>
              <a:gd name="connsiteY3" fmla="*/ 2554319 h 5209670"/>
              <a:gd name="connsiteX4" fmla="*/ 3093528 w 3318878"/>
              <a:gd name="connsiteY4" fmla="*/ 4745978 h 5209670"/>
              <a:gd name="connsiteX0" fmla="*/ 2733223 w 2986743"/>
              <a:gd name="connsiteY0" fmla="*/ 5192468 h 5380434"/>
              <a:gd name="connsiteX1" fmla="*/ 16222 w 2986743"/>
              <a:gd name="connsiteY1" fmla="*/ 3975102 h 5380434"/>
              <a:gd name="connsiteX2" fmla="*/ 2116222 w 2986743"/>
              <a:gd name="connsiteY2" fmla="*/ 12700 h 5380434"/>
              <a:gd name="connsiteX3" fmla="*/ 2677717 w 2986743"/>
              <a:gd name="connsiteY3" fmla="*/ 2550866 h 5380434"/>
              <a:gd name="connsiteX4" fmla="*/ 2733223 w 2986743"/>
              <a:gd name="connsiteY4" fmla="*/ 5192468 h 5380434"/>
              <a:gd name="connsiteX0" fmla="*/ 2733223 w 3097703"/>
              <a:gd name="connsiteY0" fmla="*/ 5192468 h 5481372"/>
              <a:gd name="connsiteX1" fmla="*/ 16222 w 3097703"/>
              <a:gd name="connsiteY1" fmla="*/ 3975102 h 5481372"/>
              <a:gd name="connsiteX2" fmla="*/ 2116222 w 3097703"/>
              <a:gd name="connsiteY2" fmla="*/ 12700 h 5481372"/>
              <a:gd name="connsiteX3" fmla="*/ 2677717 w 3097703"/>
              <a:gd name="connsiteY3" fmla="*/ 2550866 h 5481372"/>
              <a:gd name="connsiteX4" fmla="*/ 2733223 w 3097703"/>
              <a:gd name="connsiteY4" fmla="*/ 5192468 h 5481372"/>
              <a:gd name="connsiteX0" fmla="*/ 2808972 w 3173452"/>
              <a:gd name="connsiteY0" fmla="*/ 5196188 h 5629659"/>
              <a:gd name="connsiteX1" fmla="*/ 91971 w 3173452"/>
              <a:gd name="connsiteY1" fmla="*/ 3978822 h 5629659"/>
              <a:gd name="connsiteX2" fmla="*/ 2191971 w 3173452"/>
              <a:gd name="connsiteY2" fmla="*/ 16420 h 5629659"/>
              <a:gd name="connsiteX3" fmla="*/ 2753466 w 3173452"/>
              <a:gd name="connsiteY3" fmla="*/ 2554586 h 5629659"/>
              <a:gd name="connsiteX4" fmla="*/ 2808972 w 3173452"/>
              <a:gd name="connsiteY4" fmla="*/ 5196188 h 5629659"/>
              <a:gd name="connsiteX0" fmla="*/ 2775512 w 3139992"/>
              <a:gd name="connsiteY0" fmla="*/ 5206164 h 5639635"/>
              <a:gd name="connsiteX1" fmla="*/ 58511 w 3139992"/>
              <a:gd name="connsiteY1" fmla="*/ 3988798 h 5639635"/>
              <a:gd name="connsiteX2" fmla="*/ 2158511 w 3139992"/>
              <a:gd name="connsiteY2" fmla="*/ 26396 h 5639635"/>
              <a:gd name="connsiteX3" fmla="*/ 2720006 w 3139992"/>
              <a:gd name="connsiteY3" fmla="*/ 2564562 h 5639635"/>
              <a:gd name="connsiteX4" fmla="*/ 2775512 w 3139992"/>
              <a:gd name="connsiteY4" fmla="*/ 5206164 h 5639635"/>
              <a:gd name="connsiteX0" fmla="*/ 2775512 w 3139992"/>
              <a:gd name="connsiteY0" fmla="*/ 5206164 h 5639635"/>
              <a:gd name="connsiteX1" fmla="*/ 58511 w 3139992"/>
              <a:gd name="connsiteY1" fmla="*/ 3988798 h 5639635"/>
              <a:gd name="connsiteX2" fmla="*/ 2158511 w 3139992"/>
              <a:gd name="connsiteY2" fmla="*/ 26396 h 5639635"/>
              <a:gd name="connsiteX3" fmla="*/ 2720006 w 3139992"/>
              <a:gd name="connsiteY3" fmla="*/ 2564562 h 5639635"/>
              <a:gd name="connsiteX4" fmla="*/ 2775512 w 3139992"/>
              <a:gd name="connsiteY4" fmla="*/ 5206164 h 5639635"/>
              <a:gd name="connsiteX0" fmla="*/ 2775512 w 3139992"/>
              <a:gd name="connsiteY0" fmla="*/ 5262067 h 5695538"/>
              <a:gd name="connsiteX1" fmla="*/ 58511 w 3139992"/>
              <a:gd name="connsiteY1" fmla="*/ 4044701 h 5695538"/>
              <a:gd name="connsiteX2" fmla="*/ 2158511 w 3139992"/>
              <a:gd name="connsiteY2" fmla="*/ 82299 h 5695538"/>
              <a:gd name="connsiteX3" fmla="*/ 2720006 w 3139992"/>
              <a:gd name="connsiteY3" fmla="*/ 2620465 h 5695538"/>
              <a:gd name="connsiteX4" fmla="*/ 2775512 w 3139992"/>
              <a:gd name="connsiteY4" fmla="*/ 5262067 h 5695538"/>
              <a:gd name="connsiteX0" fmla="*/ 2782798 w 3147278"/>
              <a:gd name="connsiteY0" fmla="*/ 5279181 h 5712652"/>
              <a:gd name="connsiteX1" fmla="*/ 65797 w 3147278"/>
              <a:gd name="connsiteY1" fmla="*/ 4061815 h 5712652"/>
              <a:gd name="connsiteX2" fmla="*/ 2165797 w 3147278"/>
              <a:gd name="connsiteY2" fmla="*/ 99413 h 5712652"/>
              <a:gd name="connsiteX3" fmla="*/ 2727292 w 3147278"/>
              <a:gd name="connsiteY3" fmla="*/ 2637579 h 5712652"/>
              <a:gd name="connsiteX4" fmla="*/ 2782798 w 3147278"/>
              <a:gd name="connsiteY4" fmla="*/ 5279181 h 5712652"/>
              <a:gd name="connsiteX0" fmla="*/ 2800124 w 3164604"/>
              <a:gd name="connsiteY0" fmla="*/ 5288553 h 5722024"/>
              <a:gd name="connsiteX1" fmla="*/ 83123 w 3164604"/>
              <a:gd name="connsiteY1" fmla="*/ 4071187 h 5722024"/>
              <a:gd name="connsiteX2" fmla="*/ 2183123 w 3164604"/>
              <a:gd name="connsiteY2" fmla="*/ 108785 h 5722024"/>
              <a:gd name="connsiteX3" fmla="*/ 2744618 w 3164604"/>
              <a:gd name="connsiteY3" fmla="*/ 2646951 h 5722024"/>
              <a:gd name="connsiteX4" fmla="*/ 2800124 w 3164604"/>
              <a:gd name="connsiteY4" fmla="*/ 5288553 h 5722024"/>
              <a:gd name="connsiteX0" fmla="*/ 2743364 w 3121330"/>
              <a:gd name="connsiteY0" fmla="*/ 5419182 h 5819543"/>
              <a:gd name="connsiteX1" fmla="*/ 83123 w 3121330"/>
              <a:gd name="connsiteY1" fmla="*/ 4071187 h 5819543"/>
              <a:gd name="connsiteX2" fmla="*/ 2183123 w 3121330"/>
              <a:gd name="connsiteY2" fmla="*/ 108785 h 5819543"/>
              <a:gd name="connsiteX3" fmla="*/ 2744618 w 3121330"/>
              <a:gd name="connsiteY3" fmla="*/ 2646951 h 5819543"/>
              <a:gd name="connsiteX4" fmla="*/ 2743364 w 3121330"/>
              <a:gd name="connsiteY4" fmla="*/ 5419182 h 5819543"/>
              <a:gd name="connsiteX0" fmla="*/ 2743364 w 3151526"/>
              <a:gd name="connsiteY0" fmla="*/ 5419182 h 5748720"/>
              <a:gd name="connsiteX1" fmla="*/ 83123 w 3151526"/>
              <a:gd name="connsiteY1" fmla="*/ 4071187 h 5748720"/>
              <a:gd name="connsiteX2" fmla="*/ 2183123 w 3151526"/>
              <a:gd name="connsiteY2" fmla="*/ 108785 h 5748720"/>
              <a:gd name="connsiteX3" fmla="*/ 2744618 w 3151526"/>
              <a:gd name="connsiteY3" fmla="*/ 2646951 h 5748720"/>
              <a:gd name="connsiteX4" fmla="*/ 2743364 w 3151526"/>
              <a:gd name="connsiteY4" fmla="*/ 5419182 h 5748720"/>
              <a:gd name="connsiteX0" fmla="*/ 2754554 w 3170100"/>
              <a:gd name="connsiteY0" fmla="*/ 5545634 h 5875172"/>
              <a:gd name="connsiteX1" fmla="*/ 94313 w 3170100"/>
              <a:gd name="connsiteY1" fmla="*/ 4197639 h 5875172"/>
              <a:gd name="connsiteX2" fmla="*/ 2012682 w 3170100"/>
              <a:gd name="connsiteY2" fmla="*/ 104608 h 5875172"/>
              <a:gd name="connsiteX3" fmla="*/ 2755808 w 3170100"/>
              <a:gd name="connsiteY3" fmla="*/ 2773403 h 5875172"/>
              <a:gd name="connsiteX4" fmla="*/ 2754554 w 3170100"/>
              <a:gd name="connsiteY4" fmla="*/ 5545634 h 5875172"/>
              <a:gd name="connsiteX0" fmla="*/ 2754554 w 3170100"/>
              <a:gd name="connsiteY0" fmla="*/ 5545634 h 5875172"/>
              <a:gd name="connsiteX1" fmla="*/ 94313 w 3170100"/>
              <a:gd name="connsiteY1" fmla="*/ 4197639 h 5875172"/>
              <a:gd name="connsiteX2" fmla="*/ 2012682 w 3170100"/>
              <a:gd name="connsiteY2" fmla="*/ 104608 h 5875172"/>
              <a:gd name="connsiteX3" fmla="*/ 2755808 w 3170100"/>
              <a:gd name="connsiteY3" fmla="*/ 2773403 h 5875172"/>
              <a:gd name="connsiteX4" fmla="*/ 2754554 w 3170100"/>
              <a:gd name="connsiteY4" fmla="*/ 5545634 h 5875172"/>
              <a:gd name="connsiteX0" fmla="*/ 2833740 w 3067930"/>
              <a:gd name="connsiteY0" fmla="*/ 5545189 h 5679802"/>
              <a:gd name="connsiteX1" fmla="*/ 88767 w 3067930"/>
              <a:gd name="connsiteY1" fmla="*/ 4211709 h 5679802"/>
              <a:gd name="connsiteX2" fmla="*/ 2091868 w 3067930"/>
              <a:gd name="connsiteY2" fmla="*/ 104163 h 5679802"/>
              <a:gd name="connsiteX3" fmla="*/ 2834994 w 3067930"/>
              <a:gd name="connsiteY3" fmla="*/ 2772958 h 5679802"/>
              <a:gd name="connsiteX4" fmla="*/ 2833740 w 3067930"/>
              <a:gd name="connsiteY4" fmla="*/ 5545189 h 5679802"/>
              <a:gd name="connsiteX0" fmla="*/ 2833740 w 3175149"/>
              <a:gd name="connsiteY0" fmla="*/ 5545189 h 5859928"/>
              <a:gd name="connsiteX1" fmla="*/ 88767 w 3175149"/>
              <a:gd name="connsiteY1" fmla="*/ 4211709 h 5859928"/>
              <a:gd name="connsiteX2" fmla="*/ 2091868 w 3175149"/>
              <a:gd name="connsiteY2" fmla="*/ 104163 h 5859928"/>
              <a:gd name="connsiteX3" fmla="*/ 2834994 w 3175149"/>
              <a:gd name="connsiteY3" fmla="*/ 2772958 h 5859928"/>
              <a:gd name="connsiteX4" fmla="*/ 2833740 w 3175149"/>
              <a:gd name="connsiteY4" fmla="*/ 5545189 h 5859928"/>
              <a:gd name="connsiteX0" fmla="*/ 2833740 w 3147353"/>
              <a:gd name="connsiteY0" fmla="*/ 5545189 h 5859928"/>
              <a:gd name="connsiteX1" fmla="*/ 88767 w 3147353"/>
              <a:gd name="connsiteY1" fmla="*/ 4211709 h 5859928"/>
              <a:gd name="connsiteX2" fmla="*/ 2091868 w 3147353"/>
              <a:gd name="connsiteY2" fmla="*/ 104163 h 5859928"/>
              <a:gd name="connsiteX3" fmla="*/ 2834994 w 3147353"/>
              <a:gd name="connsiteY3" fmla="*/ 2772958 h 5859928"/>
              <a:gd name="connsiteX4" fmla="*/ 2833740 w 3147353"/>
              <a:gd name="connsiteY4" fmla="*/ 5545189 h 5859928"/>
              <a:gd name="connsiteX0" fmla="*/ 2824211 w 3137824"/>
              <a:gd name="connsiteY0" fmla="*/ 5501408 h 5816147"/>
              <a:gd name="connsiteX1" fmla="*/ 79238 w 3137824"/>
              <a:gd name="connsiteY1" fmla="*/ 4167928 h 5816147"/>
              <a:gd name="connsiteX2" fmla="*/ 2082339 w 3137824"/>
              <a:gd name="connsiteY2" fmla="*/ 60382 h 5816147"/>
              <a:gd name="connsiteX3" fmla="*/ 2825465 w 3137824"/>
              <a:gd name="connsiteY3" fmla="*/ 2729177 h 5816147"/>
              <a:gd name="connsiteX4" fmla="*/ 2824211 w 3137824"/>
              <a:gd name="connsiteY4" fmla="*/ 5501408 h 58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7824" h="5816147">
                <a:moveTo>
                  <a:pt x="2824211" y="5501408"/>
                </a:moveTo>
                <a:cubicBezTo>
                  <a:pt x="2122903" y="6147600"/>
                  <a:pt x="420463" y="5844023"/>
                  <a:pt x="79238" y="4167928"/>
                </a:cubicBezTo>
                <a:cubicBezTo>
                  <a:pt x="-318747" y="2172519"/>
                  <a:pt x="849718" y="-430380"/>
                  <a:pt x="2082339" y="60382"/>
                </a:cubicBezTo>
                <a:cubicBezTo>
                  <a:pt x="2972823" y="449544"/>
                  <a:pt x="2818326" y="1444968"/>
                  <a:pt x="2825465" y="2729177"/>
                </a:cubicBezTo>
                <a:cubicBezTo>
                  <a:pt x="2832604" y="4013386"/>
                  <a:pt x="3525519" y="4855216"/>
                  <a:pt x="2824211" y="5501408"/>
                </a:cubicBezTo>
                <a:close/>
              </a:path>
            </a:pathLst>
          </a:custGeom>
          <a:solidFill>
            <a:schemeClr val="bg2"/>
          </a:solidFill>
          <a:effectLst>
            <a:outerShdw blurRad="127000" dist="12700" algn="ctr" rotWithShape="0">
              <a:schemeClr val="tx2">
                <a:lumMod val="50000"/>
                <a:alpha val="50000"/>
              </a:schemeClr>
            </a:outerShdw>
          </a:effectLst>
        </p:spPr>
        <p:txBody>
          <a:bodyPr/>
          <a:lstStyle/>
          <a:p>
            <a:r>
              <a:rPr lang="en-US" dirty="0"/>
              <a:t>Click icon to add picture</a:t>
            </a:r>
          </a:p>
        </p:txBody>
      </p:sp>
      <p:sp>
        <p:nvSpPr>
          <p:cNvPr id="6" name="Slide Number Placeholder 8">
            <a:extLst>
              <a:ext uri="{FF2B5EF4-FFF2-40B4-BE49-F238E27FC236}">
                <a16:creationId xmlns:a16="http://schemas.microsoft.com/office/drawing/2014/main" id="{D70ADA00-64F8-DF4E-8611-C2F00CB14217}"/>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11" name="Freeform 10">
            <a:extLst>
              <a:ext uri="{FF2B5EF4-FFF2-40B4-BE49-F238E27FC236}">
                <a16:creationId xmlns:a16="http://schemas.microsoft.com/office/drawing/2014/main" id="{F55BB7A0-ED09-A34D-8919-2B10BF5A44BF}"/>
              </a:ext>
            </a:extLst>
          </p:cNvPr>
          <p:cNvSpPr/>
          <p:nvPr userDrawn="1"/>
        </p:nvSpPr>
        <p:spPr>
          <a:xfrm>
            <a:off x="0" y="0"/>
            <a:ext cx="1362726" cy="6872516"/>
          </a:xfrm>
          <a:custGeom>
            <a:avLst/>
            <a:gdLst>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1842655 w 1842655"/>
              <a:gd name="connsiteY5" fmla="*/ 6872487 h 6872516"/>
              <a:gd name="connsiteX6" fmla="*/ 1842655 w 1842655"/>
              <a:gd name="connsiteY6" fmla="*/ 6872516 h 6872516"/>
              <a:gd name="connsiteX7" fmla="*/ 0 w 1842655"/>
              <a:gd name="connsiteY7" fmla="*/ 6872516 h 6872516"/>
              <a:gd name="connsiteX8" fmla="*/ 0 w 1842655"/>
              <a:gd name="connsiteY8" fmla="*/ 0 h 6872516"/>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1842655 w 1842655"/>
              <a:gd name="connsiteY5" fmla="*/ 6872487 h 6872516"/>
              <a:gd name="connsiteX6" fmla="*/ 0 w 1842655"/>
              <a:gd name="connsiteY6" fmla="*/ 6872516 h 6872516"/>
              <a:gd name="connsiteX7" fmla="*/ 0 w 1842655"/>
              <a:gd name="connsiteY7" fmla="*/ 0 h 6872516"/>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0 w 1842655"/>
              <a:gd name="connsiteY5" fmla="*/ 6872516 h 6872516"/>
              <a:gd name="connsiteX6" fmla="*/ 0 w 1842655"/>
              <a:gd name="connsiteY6" fmla="*/ 0 h 6872516"/>
              <a:gd name="connsiteX0" fmla="*/ 0 w 1842655"/>
              <a:gd name="connsiteY0" fmla="*/ 0 h 6872516"/>
              <a:gd name="connsiteX1" fmla="*/ 1842655 w 1842655"/>
              <a:gd name="connsiteY1" fmla="*/ 0 h 6872516"/>
              <a:gd name="connsiteX2" fmla="*/ 1304667 w 1842655"/>
              <a:gd name="connsiteY2" fmla="*/ 2 h 6872516"/>
              <a:gd name="connsiteX3" fmla="*/ 1362726 w 1842655"/>
              <a:gd name="connsiteY3" fmla="*/ 6872485 h 6872516"/>
              <a:gd name="connsiteX4" fmla="*/ 0 w 1842655"/>
              <a:gd name="connsiteY4" fmla="*/ 6872516 h 6872516"/>
              <a:gd name="connsiteX5" fmla="*/ 0 w 1842655"/>
              <a:gd name="connsiteY5" fmla="*/ 0 h 6872516"/>
              <a:gd name="connsiteX0" fmla="*/ 0 w 1362726"/>
              <a:gd name="connsiteY0" fmla="*/ 0 h 6872516"/>
              <a:gd name="connsiteX1" fmla="*/ 1304667 w 1362726"/>
              <a:gd name="connsiteY1" fmla="*/ 2 h 6872516"/>
              <a:gd name="connsiteX2" fmla="*/ 1362726 w 1362726"/>
              <a:gd name="connsiteY2" fmla="*/ 6872485 h 6872516"/>
              <a:gd name="connsiteX3" fmla="*/ 0 w 1362726"/>
              <a:gd name="connsiteY3" fmla="*/ 6872516 h 6872516"/>
              <a:gd name="connsiteX4" fmla="*/ 0 w 1362726"/>
              <a:gd name="connsiteY4" fmla="*/ 0 h 6872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726" h="6872516">
                <a:moveTo>
                  <a:pt x="0" y="0"/>
                </a:moveTo>
                <a:lnTo>
                  <a:pt x="1304667" y="2"/>
                </a:lnTo>
                <a:cubicBezTo>
                  <a:pt x="1261124" y="1977009"/>
                  <a:pt x="-1101062" y="2940196"/>
                  <a:pt x="1362726" y="6872485"/>
                </a:cubicBezTo>
                <a:lnTo>
                  <a:pt x="0" y="6872516"/>
                </a:lnTo>
                <a:lnTo>
                  <a:pt x="0" y="0"/>
                </a:lnTo>
                <a:close/>
              </a:path>
            </a:pathLst>
          </a:custGeom>
          <a:solidFill>
            <a:schemeClr val="bg2"/>
          </a:solidFill>
          <a:ln>
            <a:noFill/>
          </a:ln>
          <a:effectLst>
            <a:outerShdw blurRad="127000" dist="127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ext Placeholder 32">
            <a:extLst>
              <a:ext uri="{FF2B5EF4-FFF2-40B4-BE49-F238E27FC236}">
                <a16:creationId xmlns:a16="http://schemas.microsoft.com/office/drawing/2014/main" id="{A079D4BF-86ED-794C-A7BA-B1B3BDAEE1D3}"/>
              </a:ext>
            </a:extLst>
          </p:cNvPr>
          <p:cNvSpPr>
            <a:spLocks noGrp="1"/>
          </p:cNvSpPr>
          <p:nvPr>
            <p:ph type="body" sz="quarter" idx="14" hasCustomPrompt="1"/>
          </p:nvPr>
        </p:nvSpPr>
        <p:spPr>
          <a:xfrm>
            <a:off x="5078350" y="1398561"/>
            <a:ext cx="6732650" cy="5322914"/>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Tree>
    <p:extLst>
      <p:ext uri="{BB962C8B-B14F-4D97-AF65-F5344CB8AC3E}">
        <p14:creationId xmlns:p14="http://schemas.microsoft.com/office/powerpoint/2010/main" val="28878562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Image + Headline &amp; Copy">
    <p:bg>
      <p:bgPr>
        <a:solidFill>
          <a:schemeClr val="bg2"/>
        </a:solidFill>
        <a:effectLst/>
      </p:bgPr>
    </p:bg>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C2B5AE13-5CBF-944B-B231-822F7D984FD0}"/>
              </a:ext>
            </a:extLst>
          </p:cNvPr>
          <p:cNvSpPr>
            <a:spLocks/>
          </p:cNvSpPr>
          <p:nvPr userDrawn="1"/>
        </p:nvSpPr>
        <p:spPr bwMode="auto">
          <a:xfrm rot="16200000">
            <a:off x="53279" y="74456"/>
            <a:ext cx="6638079" cy="6744637"/>
          </a:xfrm>
          <a:custGeom>
            <a:avLst/>
            <a:gdLst>
              <a:gd name="T0" fmla="*/ 8751800 w 20831"/>
              <a:gd name="T1" fmla="*/ 5708631 h 19270"/>
              <a:gd name="T2" fmla="*/ 8751800 w 20831"/>
              <a:gd name="T3" fmla="*/ 5708631 h 19270"/>
              <a:gd name="T4" fmla="*/ 8751800 w 20831"/>
              <a:gd name="T5" fmla="*/ 5708631 h 19270"/>
              <a:gd name="T6" fmla="*/ 8751800 w 20831"/>
              <a:gd name="T7" fmla="*/ 5708631 h 19270"/>
              <a:gd name="T8" fmla="*/ 0 60000 65536"/>
              <a:gd name="T9" fmla="*/ 5898240 60000 65536"/>
              <a:gd name="T10" fmla="*/ 11796480 60000 65536"/>
              <a:gd name="T11" fmla="*/ 17694720 60000 65536"/>
              <a:gd name="connsiteX0" fmla="*/ 1015 w 20837"/>
              <a:gd name="connsiteY0" fmla="*/ 0 h 19721"/>
              <a:gd name="connsiteX1" fmla="*/ 54 w 20837"/>
              <a:gd name="connsiteY1" fmla="*/ 4378 h 19721"/>
              <a:gd name="connsiteX2" fmla="*/ 1832 w 20837"/>
              <a:gd name="connsiteY2" fmla="*/ 18133 h 19721"/>
              <a:gd name="connsiteX3" fmla="*/ 16964 w 20837"/>
              <a:gd name="connsiteY3" fmla="*/ 18475 h 19721"/>
              <a:gd name="connsiteX4" fmla="*/ 18703 w 20837"/>
              <a:gd name="connsiteY4" fmla="*/ 15704 h 19721"/>
              <a:gd name="connsiteX5" fmla="*/ 20168 w 20837"/>
              <a:gd name="connsiteY5" fmla="*/ 0 h 19721"/>
              <a:gd name="connsiteX6" fmla="*/ 1015 w 20837"/>
              <a:gd name="connsiteY6" fmla="*/ 0 h 19721"/>
              <a:gd name="connsiteX0" fmla="*/ 990 w 20812"/>
              <a:gd name="connsiteY0" fmla="*/ 0 h 19180"/>
              <a:gd name="connsiteX1" fmla="*/ 29 w 20812"/>
              <a:gd name="connsiteY1" fmla="*/ 4378 h 19180"/>
              <a:gd name="connsiteX2" fmla="*/ 1807 w 20812"/>
              <a:gd name="connsiteY2" fmla="*/ 18133 h 19180"/>
              <a:gd name="connsiteX3" fmla="*/ 12773 w 20812"/>
              <a:gd name="connsiteY3" fmla="*/ 17945 h 19180"/>
              <a:gd name="connsiteX4" fmla="*/ 18678 w 20812"/>
              <a:gd name="connsiteY4" fmla="*/ 15704 h 19180"/>
              <a:gd name="connsiteX5" fmla="*/ 20143 w 20812"/>
              <a:gd name="connsiteY5" fmla="*/ 0 h 19180"/>
              <a:gd name="connsiteX6" fmla="*/ 990 w 20812"/>
              <a:gd name="connsiteY6" fmla="*/ 0 h 19180"/>
              <a:gd name="connsiteX0" fmla="*/ 990 w 21510"/>
              <a:gd name="connsiteY0" fmla="*/ 0 h 19322"/>
              <a:gd name="connsiteX1" fmla="*/ 29 w 21510"/>
              <a:gd name="connsiteY1" fmla="*/ 4378 h 19322"/>
              <a:gd name="connsiteX2" fmla="*/ 1807 w 21510"/>
              <a:gd name="connsiteY2" fmla="*/ 18133 h 19322"/>
              <a:gd name="connsiteX3" fmla="*/ 12773 w 21510"/>
              <a:gd name="connsiteY3" fmla="*/ 17945 h 19322"/>
              <a:gd name="connsiteX4" fmla="*/ 20252 w 21510"/>
              <a:gd name="connsiteY4" fmla="*/ 12345 h 19322"/>
              <a:gd name="connsiteX5" fmla="*/ 20143 w 21510"/>
              <a:gd name="connsiteY5" fmla="*/ 0 h 19322"/>
              <a:gd name="connsiteX6" fmla="*/ 990 w 21510"/>
              <a:gd name="connsiteY6" fmla="*/ 0 h 19322"/>
              <a:gd name="connsiteX0" fmla="*/ 990 w 21510"/>
              <a:gd name="connsiteY0" fmla="*/ 0 h 19322"/>
              <a:gd name="connsiteX1" fmla="*/ 29 w 21510"/>
              <a:gd name="connsiteY1" fmla="*/ 4378 h 19322"/>
              <a:gd name="connsiteX2" fmla="*/ 1807 w 21510"/>
              <a:gd name="connsiteY2" fmla="*/ 18133 h 19322"/>
              <a:gd name="connsiteX3" fmla="*/ 12773 w 21510"/>
              <a:gd name="connsiteY3" fmla="*/ 17945 h 19322"/>
              <a:gd name="connsiteX4" fmla="*/ 20252 w 21510"/>
              <a:gd name="connsiteY4" fmla="*/ 12345 h 19322"/>
              <a:gd name="connsiteX5" fmla="*/ 20143 w 21510"/>
              <a:gd name="connsiteY5" fmla="*/ 0 h 19322"/>
              <a:gd name="connsiteX6" fmla="*/ 990 w 21510"/>
              <a:gd name="connsiteY6" fmla="*/ 0 h 19322"/>
              <a:gd name="connsiteX0" fmla="*/ 990 w 20632"/>
              <a:gd name="connsiteY0" fmla="*/ 0 h 19322"/>
              <a:gd name="connsiteX1" fmla="*/ 29 w 20632"/>
              <a:gd name="connsiteY1" fmla="*/ 4378 h 19322"/>
              <a:gd name="connsiteX2" fmla="*/ 1807 w 20632"/>
              <a:gd name="connsiteY2" fmla="*/ 18133 h 19322"/>
              <a:gd name="connsiteX3" fmla="*/ 12773 w 20632"/>
              <a:gd name="connsiteY3" fmla="*/ 17945 h 19322"/>
              <a:gd name="connsiteX4" fmla="*/ 20252 w 20632"/>
              <a:gd name="connsiteY4" fmla="*/ 12345 h 19322"/>
              <a:gd name="connsiteX5" fmla="*/ 20143 w 20632"/>
              <a:gd name="connsiteY5" fmla="*/ 0 h 19322"/>
              <a:gd name="connsiteX6" fmla="*/ 990 w 20632"/>
              <a:gd name="connsiteY6" fmla="*/ 0 h 19322"/>
              <a:gd name="connsiteX0" fmla="*/ 990 w 20252"/>
              <a:gd name="connsiteY0" fmla="*/ 0 h 19322"/>
              <a:gd name="connsiteX1" fmla="*/ 29 w 20252"/>
              <a:gd name="connsiteY1" fmla="*/ 4378 h 19322"/>
              <a:gd name="connsiteX2" fmla="*/ 1807 w 20252"/>
              <a:gd name="connsiteY2" fmla="*/ 18133 h 19322"/>
              <a:gd name="connsiteX3" fmla="*/ 12773 w 20252"/>
              <a:gd name="connsiteY3" fmla="*/ 17945 h 19322"/>
              <a:gd name="connsiteX4" fmla="*/ 20252 w 20252"/>
              <a:gd name="connsiteY4" fmla="*/ 12345 h 19322"/>
              <a:gd name="connsiteX5" fmla="*/ 20143 w 20252"/>
              <a:gd name="connsiteY5" fmla="*/ 0 h 19322"/>
              <a:gd name="connsiteX6" fmla="*/ 990 w 20252"/>
              <a:gd name="connsiteY6" fmla="*/ 0 h 19322"/>
              <a:gd name="connsiteX0" fmla="*/ 990 w 20298"/>
              <a:gd name="connsiteY0" fmla="*/ 0 h 19368"/>
              <a:gd name="connsiteX1" fmla="*/ 29 w 20298"/>
              <a:gd name="connsiteY1" fmla="*/ 4378 h 19368"/>
              <a:gd name="connsiteX2" fmla="*/ 1807 w 20298"/>
              <a:gd name="connsiteY2" fmla="*/ 18133 h 19368"/>
              <a:gd name="connsiteX3" fmla="*/ 12773 w 20298"/>
              <a:gd name="connsiteY3" fmla="*/ 17945 h 19368"/>
              <a:gd name="connsiteX4" fmla="*/ 20298 w 20298"/>
              <a:gd name="connsiteY4" fmla="*/ 11373 h 19368"/>
              <a:gd name="connsiteX5" fmla="*/ 20143 w 20298"/>
              <a:gd name="connsiteY5" fmla="*/ 0 h 19368"/>
              <a:gd name="connsiteX6" fmla="*/ 990 w 20298"/>
              <a:gd name="connsiteY6" fmla="*/ 0 h 19368"/>
              <a:gd name="connsiteX0" fmla="*/ 990 w 20340"/>
              <a:gd name="connsiteY0" fmla="*/ 0 h 19368"/>
              <a:gd name="connsiteX1" fmla="*/ 29 w 20340"/>
              <a:gd name="connsiteY1" fmla="*/ 4378 h 19368"/>
              <a:gd name="connsiteX2" fmla="*/ 1807 w 20340"/>
              <a:gd name="connsiteY2" fmla="*/ 18133 h 19368"/>
              <a:gd name="connsiteX3" fmla="*/ 12773 w 20340"/>
              <a:gd name="connsiteY3" fmla="*/ 17945 h 19368"/>
              <a:gd name="connsiteX4" fmla="*/ 20298 w 20340"/>
              <a:gd name="connsiteY4" fmla="*/ 11373 h 19368"/>
              <a:gd name="connsiteX5" fmla="*/ 20143 w 20340"/>
              <a:gd name="connsiteY5" fmla="*/ 0 h 19368"/>
              <a:gd name="connsiteX6" fmla="*/ 990 w 20340"/>
              <a:gd name="connsiteY6" fmla="*/ 0 h 19368"/>
              <a:gd name="connsiteX0" fmla="*/ 990 w 20317"/>
              <a:gd name="connsiteY0" fmla="*/ 0 h 19368"/>
              <a:gd name="connsiteX1" fmla="*/ 29 w 20317"/>
              <a:gd name="connsiteY1" fmla="*/ 4378 h 19368"/>
              <a:gd name="connsiteX2" fmla="*/ 1807 w 20317"/>
              <a:gd name="connsiteY2" fmla="*/ 18133 h 19368"/>
              <a:gd name="connsiteX3" fmla="*/ 12773 w 20317"/>
              <a:gd name="connsiteY3" fmla="*/ 17945 h 19368"/>
              <a:gd name="connsiteX4" fmla="*/ 20298 w 20317"/>
              <a:gd name="connsiteY4" fmla="*/ 11373 h 19368"/>
              <a:gd name="connsiteX5" fmla="*/ 20143 w 20317"/>
              <a:gd name="connsiteY5" fmla="*/ 0 h 19368"/>
              <a:gd name="connsiteX6" fmla="*/ 990 w 20317"/>
              <a:gd name="connsiteY6" fmla="*/ 0 h 19368"/>
              <a:gd name="connsiteX0" fmla="*/ 990 w 20501"/>
              <a:gd name="connsiteY0" fmla="*/ 0 h 19345"/>
              <a:gd name="connsiteX1" fmla="*/ 29 w 20501"/>
              <a:gd name="connsiteY1" fmla="*/ 4378 h 19345"/>
              <a:gd name="connsiteX2" fmla="*/ 1807 w 20501"/>
              <a:gd name="connsiteY2" fmla="*/ 18133 h 19345"/>
              <a:gd name="connsiteX3" fmla="*/ 12773 w 20501"/>
              <a:gd name="connsiteY3" fmla="*/ 17945 h 19345"/>
              <a:gd name="connsiteX4" fmla="*/ 20483 w 20501"/>
              <a:gd name="connsiteY4" fmla="*/ 11859 h 19345"/>
              <a:gd name="connsiteX5" fmla="*/ 20143 w 20501"/>
              <a:gd name="connsiteY5" fmla="*/ 0 h 19345"/>
              <a:gd name="connsiteX6" fmla="*/ 990 w 20501"/>
              <a:gd name="connsiteY6" fmla="*/ 0 h 19345"/>
              <a:gd name="connsiteX0" fmla="*/ 990 w 20720"/>
              <a:gd name="connsiteY0" fmla="*/ 0 h 19345"/>
              <a:gd name="connsiteX1" fmla="*/ 29 w 20720"/>
              <a:gd name="connsiteY1" fmla="*/ 4378 h 19345"/>
              <a:gd name="connsiteX2" fmla="*/ 1807 w 20720"/>
              <a:gd name="connsiteY2" fmla="*/ 18133 h 19345"/>
              <a:gd name="connsiteX3" fmla="*/ 12773 w 20720"/>
              <a:gd name="connsiteY3" fmla="*/ 17945 h 19345"/>
              <a:gd name="connsiteX4" fmla="*/ 20483 w 20720"/>
              <a:gd name="connsiteY4" fmla="*/ 11859 h 19345"/>
              <a:gd name="connsiteX5" fmla="*/ 19680 w 20720"/>
              <a:gd name="connsiteY5" fmla="*/ 0 h 19345"/>
              <a:gd name="connsiteX6" fmla="*/ 990 w 20720"/>
              <a:gd name="connsiteY6" fmla="*/ 0 h 19345"/>
              <a:gd name="connsiteX0" fmla="*/ 990 w 20734"/>
              <a:gd name="connsiteY0" fmla="*/ 0 h 19345"/>
              <a:gd name="connsiteX1" fmla="*/ 29 w 20734"/>
              <a:gd name="connsiteY1" fmla="*/ 4378 h 19345"/>
              <a:gd name="connsiteX2" fmla="*/ 1807 w 20734"/>
              <a:gd name="connsiteY2" fmla="*/ 18133 h 19345"/>
              <a:gd name="connsiteX3" fmla="*/ 12773 w 20734"/>
              <a:gd name="connsiteY3" fmla="*/ 17945 h 19345"/>
              <a:gd name="connsiteX4" fmla="*/ 20483 w 20734"/>
              <a:gd name="connsiteY4" fmla="*/ 11859 h 19345"/>
              <a:gd name="connsiteX5" fmla="*/ 19680 w 20734"/>
              <a:gd name="connsiteY5" fmla="*/ 0 h 19345"/>
              <a:gd name="connsiteX6" fmla="*/ 990 w 20734"/>
              <a:gd name="connsiteY6" fmla="*/ 0 h 19345"/>
              <a:gd name="connsiteX0" fmla="*/ 990 w 20718"/>
              <a:gd name="connsiteY0" fmla="*/ 0 h 19345"/>
              <a:gd name="connsiteX1" fmla="*/ 29 w 20718"/>
              <a:gd name="connsiteY1" fmla="*/ 4378 h 19345"/>
              <a:gd name="connsiteX2" fmla="*/ 1807 w 20718"/>
              <a:gd name="connsiteY2" fmla="*/ 18133 h 19345"/>
              <a:gd name="connsiteX3" fmla="*/ 12773 w 20718"/>
              <a:gd name="connsiteY3" fmla="*/ 17945 h 19345"/>
              <a:gd name="connsiteX4" fmla="*/ 20483 w 20718"/>
              <a:gd name="connsiteY4" fmla="*/ 11859 h 19345"/>
              <a:gd name="connsiteX5" fmla="*/ 19680 w 20718"/>
              <a:gd name="connsiteY5" fmla="*/ 0 h 19345"/>
              <a:gd name="connsiteX6" fmla="*/ 990 w 20718"/>
              <a:gd name="connsiteY6" fmla="*/ 0 h 19345"/>
              <a:gd name="connsiteX0" fmla="*/ 990 w 20588"/>
              <a:gd name="connsiteY0" fmla="*/ 0 h 19312"/>
              <a:gd name="connsiteX1" fmla="*/ 29 w 20588"/>
              <a:gd name="connsiteY1" fmla="*/ 4378 h 19312"/>
              <a:gd name="connsiteX2" fmla="*/ 1807 w 20588"/>
              <a:gd name="connsiteY2" fmla="*/ 18133 h 19312"/>
              <a:gd name="connsiteX3" fmla="*/ 12773 w 20588"/>
              <a:gd name="connsiteY3" fmla="*/ 17945 h 19312"/>
              <a:gd name="connsiteX4" fmla="*/ 20344 w 20588"/>
              <a:gd name="connsiteY4" fmla="*/ 12566 h 19312"/>
              <a:gd name="connsiteX5" fmla="*/ 19680 w 20588"/>
              <a:gd name="connsiteY5" fmla="*/ 0 h 19312"/>
              <a:gd name="connsiteX6" fmla="*/ 990 w 20588"/>
              <a:gd name="connsiteY6" fmla="*/ 0 h 19312"/>
              <a:gd name="connsiteX0" fmla="*/ 990 w 20514"/>
              <a:gd name="connsiteY0" fmla="*/ 0 h 19312"/>
              <a:gd name="connsiteX1" fmla="*/ 29 w 20514"/>
              <a:gd name="connsiteY1" fmla="*/ 4378 h 19312"/>
              <a:gd name="connsiteX2" fmla="*/ 1807 w 20514"/>
              <a:gd name="connsiteY2" fmla="*/ 18133 h 19312"/>
              <a:gd name="connsiteX3" fmla="*/ 12773 w 20514"/>
              <a:gd name="connsiteY3" fmla="*/ 17945 h 19312"/>
              <a:gd name="connsiteX4" fmla="*/ 20344 w 20514"/>
              <a:gd name="connsiteY4" fmla="*/ 12566 h 19312"/>
              <a:gd name="connsiteX5" fmla="*/ 19680 w 20514"/>
              <a:gd name="connsiteY5" fmla="*/ 0 h 19312"/>
              <a:gd name="connsiteX6" fmla="*/ 990 w 20514"/>
              <a:gd name="connsiteY6" fmla="*/ 0 h 19312"/>
              <a:gd name="connsiteX0" fmla="*/ 990 w 20630"/>
              <a:gd name="connsiteY0" fmla="*/ 0 h 19243"/>
              <a:gd name="connsiteX1" fmla="*/ 29 w 20630"/>
              <a:gd name="connsiteY1" fmla="*/ 4378 h 19243"/>
              <a:gd name="connsiteX2" fmla="*/ 1807 w 20630"/>
              <a:gd name="connsiteY2" fmla="*/ 18133 h 19243"/>
              <a:gd name="connsiteX3" fmla="*/ 12310 w 20630"/>
              <a:gd name="connsiteY3" fmla="*/ 17768 h 19243"/>
              <a:gd name="connsiteX4" fmla="*/ 20344 w 20630"/>
              <a:gd name="connsiteY4" fmla="*/ 12566 h 19243"/>
              <a:gd name="connsiteX5" fmla="*/ 19680 w 20630"/>
              <a:gd name="connsiteY5" fmla="*/ 0 h 19243"/>
              <a:gd name="connsiteX6" fmla="*/ 990 w 20630"/>
              <a:gd name="connsiteY6" fmla="*/ 0 h 19243"/>
              <a:gd name="connsiteX0" fmla="*/ 990 w 20460"/>
              <a:gd name="connsiteY0" fmla="*/ 0 h 19215"/>
              <a:gd name="connsiteX1" fmla="*/ 29 w 20460"/>
              <a:gd name="connsiteY1" fmla="*/ 4378 h 19215"/>
              <a:gd name="connsiteX2" fmla="*/ 1807 w 20460"/>
              <a:gd name="connsiteY2" fmla="*/ 18133 h 19215"/>
              <a:gd name="connsiteX3" fmla="*/ 12310 w 20460"/>
              <a:gd name="connsiteY3" fmla="*/ 17768 h 19215"/>
              <a:gd name="connsiteX4" fmla="*/ 20159 w 20460"/>
              <a:gd name="connsiteY4" fmla="*/ 13229 h 19215"/>
              <a:gd name="connsiteX5" fmla="*/ 19680 w 20460"/>
              <a:gd name="connsiteY5" fmla="*/ 0 h 19215"/>
              <a:gd name="connsiteX6" fmla="*/ 990 w 20460"/>
              <a:gd name="connsiteY6" fmla="*/ 0 h 19215"/>
              <a:gd name="connsiteX0" fmla="*/ 990 w 20411"/>
              <a:gd name="connsiteY0" fmla="*/ 0 h 19215"/>
              <a:gd name="connsiteX1" fmla="*/ 29 w 20411"/>
              <a:gd name="connsiteY1" fmla="*/ 4378 h 19215"/>
              <a:gd name="connsiteX2" fmla="*/ 1807 w 20411"/>
              <a:gd name="connsiteY2" fmla="*/ 18133 h 19215"/>
              <a:gd name="connsiteX3" fmla="*/ 12310 w 20411"/>
              <a:gd name="connsiteY3" fmla="*/ 17768 h 19215"/>
              <a:gd name="connsiteX4" fmla="*/ 20159 w 20411"/>
              <a:gd name="connsiteY4" fmla="*/ 13229 h 19215"/>
              <a:gd name="connsiteX5" fmla="*/ 19680 w 20411"/>
              <a:gd name="connsiteY5" fmla="*/ 0 h 19215"/>
              <a:gd name="connsiteX6" fmla="*/ 990 w 20411"/>
              <a:gd name="connsiteY6" fmla="*/ 0 h 19215"/>
              <a:gd name="connsiteX0" fmla="*/ 990 w 20395"/>
              <a:gd name="connsiteY0" fmla="*/ 0 h 19215"/>
              <a:gd name="connsiteX1" fmla="*/ 29 w 20395"/>
              <a:gd name="connsiteY1" fmla="*/ 4378 h 19215"/>
              <a:gd name="connsiteX2" fmla="*/ 1807 w 20395"/>
              <a:gd name="connsiteY2" fmla="*/ 18133 h 19215"/>
              <a:gd name="connsiteX3" fmla="*/ 12310 w 20395"/>
              <a:gd name="connsiteY3" fmla="*/ 17768 h 19215"/>
              <a:gd name="connsiteX4" fmla="*/ 20159 w 20395"/>
              <a:gd name="connsiteY4" fmla="*/ 13229 h 19215"/>
              <a:gd name="connsiteX5" fmla="*/ 19680 w 20395"/>
              <a:gd name="connsiteY5" fmla="*/ 0 h 19215"/>
              <a:gd name="connsiteX6" fmla="*/ 990 w 20395"/>
              <a:gd name="connsiteY6" fmla="*/ 0 h 19215"/>
              <a:gd name="connsiteX0" fmla="*/ 990 w 20463"/>
              <a:gd name="connsiteY0" fmla="*/ 0 h 19282"/>
              <a:gd name="connsiteX1" fmla="*/ 29 w 20463"/>
              <a:gd name="connsiteY1" fmla="*/ 4378 h 19282"/>
              <a:gd name="connsiteX2" fmla="*/ 1807 w 20463"/>
              <a:gd name="connsiteY2" fmla="*/ 18133 h 19282"/>
              <a:gd name="connsiteX3" fmla="*/ 12264 w 20463"/>
              <a:gd name="connsiteY3" fmla="*/ 17945 h 19282"/>
              <a:gd name="connsiteX4" fmla="*/ 20159 w 20463"/>
              <a:gd name="connsiteY4" fmla="*/ 13229 h 19282"/>
              <a:gd name="connsiteX5" fmla="*/ 19680 w 20463"/>
              <a:gd name="connsiteY5" fmla="*/ 0 h 19282"/>
              <a:gd name="connsiteX6" fmla="*/ 990 w 20463"/>
              <a:gd name="connsiteY6" fmla="*/ 0 h 19282"/>
              <a:gd name="connsiteX0" fmla="*/ 990 w 20351"/>
              <a:gd name="connsiteY0" fmla="*/ 0 h 19282"/>
              <a:gd name="connsiteX1" fmla="*/ 29 w 20351"/>
              <a:gd name="connsiteY1" fmla="*/ 4378 h 19282"/>
              <a:gd name="connsiteX2" fmla="*/ 1807 w 20351"/>
              <a:gd name="connsiteY2" fmla="*/ 18133 h 19282"/>
              <a:gd name="connsiteX3" fmla="*/ 12264 w 20351"/>
              <a:gd name="connsiteY3" fmla="*/ 17945 h 19282"/>
              <a:gd name="connsiteX4" fmla="*/ 20159 w 20351"/>
              <a:gd name="connsiteY4" fmla="*/ 13229 h 19282"/>
              <a:gd name="connsiteX5" fmla="*/ 19680 w 20351"/>
              <a:gd name="connsiteY5" fmla="*/ 0 h 19282"/>
              <a:gd name="connsiteX6" fmla="*/ 990 w 20351"/>
              <a:gd name="connsiteY6" fmla="*/ 0 h 19282"/>
              <a:gd name="connsiteX0" fmla="*/ 990 w 20430"/>
              <a:gd name="connsiteY0" fmla="*/ 0 h 19282"/>
              <a:gd name="connsiteX1" fmla="*/ 29 w 20430"/>
              <a:gd name="connsiteY1" fmla="*/ 4378 h 19282"/>
              <a:gd name="connsiteX2" fmla="*/ 1807 w 20430"/>
              <a:gd name="connsiteY2" fmla="*/ 18133 h 19282"/>
              <a:gd name="connsiteX3" fmla="*/ 12264 w 20430"/>
              <a:gd name="connsiteY3" fmla="*/ 17945 h 19282"/>
              <a:gd name="connsiteX4" fmla="*/ 20159 w 20430"/>
              <a:gd name="connsiteY4" fmla="*/ 13229 h 19282"/>
              <a:gd name="connsiteX5" fmla="*/ 19680 w 20430"/>
              <a:gd name="connsiteY5" fmla="*/ 0 h 19282"/>
              <a:gd name="connsiteX6" fmla="*/ 990 w 20430"/>
              <a:gd name="connsiteY6" fmla="*/ 0 h 19282"/>
              <a:gd name="connsiteX0" fmla="*/ 990 w 20430"/>
              <a:gd name="connsiteY0" fmla="*/ 0 h 19224"/>
              <a:gd name="connsiteX1" fmla="*/ 29 w 20430"/>
              <a:gd name="connsiteY1" fmla="*/ 4378 h 19224"/>
              <a:gd name="connsiteX2" fmla="*/ 1807 w 20430"/>
              <a:gd name="connsiteY2" fmla="*/ 18133 h 19224"/>
              <a:gd name="connsiteX3" fmla="*/ 12264 w 20430"/>
              <a:gd name="connsiteY3" fmla="*/ 17945 h 19224"/>
              <a:gd name="connsiteX4" fmla="*/ 20159 w 20430"/>
              <a:gd name="connsiteY4" fmla="*/ 13229 h 19224"/>
              <a:gd name="connsiteX5" fmla="*/ 19680 w 20430"/>
              <a:gd name="connsiteY5" fmla="*/ 0 h 19224"/>
              <a:gd name="connsiteX6" fmla="*/ 990 w 20430"/>
              <a:gd name="connsiteY6" fmla="*/ 0 h 19224"/>
              <a:gd name="connsiteX0" fmla="*/ 389 w 19829"/>
              <a:gd name="connsiteY0" fmla="*/ 0 h 19234"/>
              <a:gd name="connsiteX1" fmla="*/ 308 w 19829"/>
              <a:gd name="connsiteY1" fmla="*/ 5041 h 19234"/>
              <a:gd name="connsiteX2" fmla="*/ 1206 w 19829"/>
              <a:gd name="connsiteY2" fmla="*/ 18133 h 19234"/>
              <a:gd name="connsiteX3" fmla="*/ 11663 w 19829"/>
              <a:gd name="connsiteY3" fmla="*/ 17945 h 19234"/>
              <a:gd name="connsiteX4" fmla="*/ 19558 w 19829"/>
              <a:gd name="connsiteY4" fmla="*/ 13229 h 19234"/>
              <a:gd name="connsiteX5" fmla="*/ 19079 w 19829"/>
              <a:gd name="connsiteY5" fmla="*/ 0 h 19234"/>
              <a:gd name="connsiteX6" fmla="*/ 389 w 19829"/>
              <a:gd name="connsiteY6" fmla="*/ 0 h 19234"/>
              <a:gd name="connsiteX0" fmla="*/ 738 w 20178"/>
              <a:gd name="connsiteY0" fmla="*/ 0 h 18623"/>
              <a:gd name="connsiteX1" fmla="*/ 55 w 20178"/>
              <a:gd name="connsiteY1" fmla="*/ 13571 h 18623"/>
              <a:gd name="connsiteX2" fmla="*/ 1555 w 20178"/>
              <a:gd name="connsiteY2" fmla="*/ 18133 h 18623"/>
              <a:gd name="connsiteX3" fmla="*/ 12012 w 20178"/>
              <a:gd name="connsiteY3" fmla="*/ 17945 h 18623"/>
              <a:gd name="connsiteX4" fmla="*/ 19907 w 20178"/>
              <a:gd name="connsiteY4" fmla="*/ 13229 h 18623"/>
              <a:gd name="connsiteX5" fmla="*/ 19428 w 20178"/>
              <a:gd name="connsiteY5" fmla="*/ 0 h 18623"/>
              <a:gd name="connsiteX6" fmla="*/ 738 w 20178"/>
              <a:gd name="connsiteY6" fmla="*/ 0 h 18623"/>
              <a:gd name="connsiteX0" fmla="*/ 469 w 20372"/>
              <a:gd name="connsiteY0" fmla="*/ 0 h 18623"/>
              <a:gd name="connsiteX1" fmla="*/ 249 w 20372"/>
              <a:gd name="connsiteY1" fmla="*/ 13571 h 18623"/>
              <a:gd name="connsiteX2" fmla="*/ 1749 w 20372"/>
              <a:gd name="connsiteY2" fmla="*/ 18133 h 18623"/>
              <a:gd name="connsiteX3" fmla="*/ 12206 w 20372"/>
              <a:gd name="connsiteY3" fmla="*/ 17945 h 18623"/>
              <a:gd name="connsiteX4" fmla="*/ 20101 w 20372"/>
              <a:gd name="connsiteY4" fmla="*/ 13229 h 18623"/>
              <a:gd name="connsiteX5" fmla="*/ 19622 w 20372"/>
              <a:gd name="connsiteY5" fmla="*/ 0 h 18623"/>
              <a:gd name="connsiteX6" fmla="*/ 469 w 20372"/>
              <a:gd name="connsiteY6" fmla="*/ 0 h 18623"/>
              <a:gd name="connsiteX0" fmla="*/ 244 w 20147"/>
              <a:gd name="connsiteY0" fmla="*/ 0 h 18623"/>
              <a:gd name="connsiteX1" fmla="*/ 24 w 20147"/>
              <a:gd name="connsiteY1" fmla="*/ 13571 h 18623"/>
              <a:gd name="connsiteX2" fmla="*/ 1524 w 20147"/>
              <a:gd name="connsiteY2" fmla="*/ 18133 h 18623"/>
              <a:gd name="connsiteX3" fmla="*/ 11981 w 20147"/>
              <a:gd name="connsiteY3" fmla="*/ 17945 h 18623"/>
              <a:gd name="connsiteX4" fmla="*/ 19876 w 20147"/>
              <a:gd name="connsiteY4" fmla="*/ 13229 h 18623"/>
              <a:gd name="connsiteX5" fmla="*/ 19397 w 20147"/>
              <a:gd name="connsiteY5" fmla="*/ 0 h 18623"/>
              <a:gd name="connsiteX6" fmla="*/ 244 w 20147"/>
              <a:gd name="connsiteY6" fmla="*/ 0 h 18623"/>
              <a:gd name="connsiteX0" fmla="*/ 1546 w 21449"/>
              <a:gd name="connsiteY0" fmla="*/ 0 h 18623"/>
              <a:gd name="connsiteX1" fmla="*/ 1326 w 21449"/>
              <a:gd name="connsiteY1" fmla="*/ 13571 h 18623"/>
              <a:gd name="connsiteX2" fmla="*/ 2826 w 21449"/>
              <a:gd name="connsiteY2" fmla="*/ 18133 h 18623"/>
              <a:gd name="connsiteX3" fmla="*/ 13283 w 21449"/>
              <a:gd name="connsiteY3" fmla="*/ 17945 h 18623"/>
              <a:gd name="connsiteX4" fmla="*/ 21178 w 21449"/>
              <a:gd name="connsiteY4" fmla="*/ 13229 h 18623"/>
              <a:gd name="connsiteX5" fmla="*/ 20699 w 21449"/>
              <a:gd name="connsiteY5" fmla="*/ 0 h 18623"/>
              <a:gd name="connsiteX6" fmla="*/ 1546 w 21449"/>
              <a:gd name="connsiteY6" fmla="*/ 0 h 18623"/>
              <a:gd name="connsiteX0" fmla="*/ 239 w 20142"/>
              <a:gd name="connsiteY0" fmla="*/ 0 h 18623"/>
              <a:gd name="connsiteX1" fmla="*/ 19 w 20142"/>
              <a:gd name="connsiteY1" fmla="*/ 13571 h 18623"/>
              <a:gd name="connsiteX2" fmla="*/ 1519 w 20142"/>
              <a:gd name="connsiteY2" fmla="*/ 18133 h 18623"/>
              <a:gd name="connsiteX3" fmla="*/ 11976 w 20142"/>
              <a:gd name="connsiteY3" fmla="*/ 17945 h 18623"/>
              <a:gd name="connsiteX4" fmla="*/ 19871 w 20142"/>
              <a:gd name="connsiteY4" fmla="*/ 13229 h 18623"/>
              <a:gd name="connsiteX5" fmla="*/ 19392 w 20142"/>
              <a:gd name="connsiteY5" fmla="*/ 0 h 18623"/>
              <a:gd name="connsiteX6" fmla="*/ 239 w 20142"/>
              <a:gd name="connsiteY6" fmla="*/ 0 h 18623"/>
              <a:gd name="connsiteX0" fmla="*/ 302 w 20205"/>
              <a:gd name="connsiteY0" fmla="*/ 0 h 19331"/>
              <a:gd name="connsiteX1" fmla="*/ 82 w 20205"/>
              <a:gd name="connsiteY1" fmla="*/ 13571 h 19331"/>
              <a:gd name="connsiteX2" fmla="*/ 3295 w 20205"/>
              <a:gd name="connsiteY2" fmla="*/ 19061 h 19331"/>
              <a:gd name="connsiteX3" fmla="*/ 12039 w 20205"/>
              <a:gd name="connsiteY3" fmla="*/ 17945 h 19331"/>
              <a:gd name="connsiteX4" fmla="*/ 19934 w 20205"/>
              <a:gd name="connsiteY4" fmla="*/ 13229 h 19331"/>
              <a:gd name="connsiteX5" fmla="*/ 19455 w 20205"/>
              <a:gd name="connsiteY5" fmla="*/ 0 h 19331"/>
              <a:gd name="connsiteX6" fmla="*/ 302 w 20205"/>
              <a:gd name="connsiteY6" fmla="*/ 0 h 19331"/>
              <a:gd name="connsiteX0" fmla="*/ 170 w 20073"/>
              <a:gd name="connsiteY0" fmla="*/ 0 h 19312"/>
              <a:gd name="connsiteX1" fmla="*/ 89 w 20073"/>
              <a:gd name="connsiteY1" fmla="*/ 13836 h 19312"/>
              <a:gd name="connsiteX2" fmla="*/ 3163 w 20073"/>
              <a:gd name="connsiteY2" fmla="*/ 19061 h 19312"/>
              <a:gd name="connsiteX3" fmla="*/ 11907 w 20073"/>
              <a:gd name="connsiteY3" fmla="*/ 17945 h 19312"/>
              <a:gd name="connsiteX4" fmla="*/ 19802 w 20073"/>
              <a:gd name="connsiteY4" fmla="*/ 13229 h 19312"/>
              <a:gd name="connsiteX5" fmla="*/ 19323 w 20073"/>
              <a:gd name="connsiteY5" fmla="*/ 0 h 19312"/>
              <a:gd name="connsiteX6" fmla="*/ 170 w 20073"/>
              <a:gd name="connsiteY6" fmla="*/ 0 h 19312"/>
              <a:gd name="connsiteX0" fmla="*/ 83 w 19986"/>
              <a:gd name="connsiteY0" fmla="*/ 0 h 19312"/>
              <a:gd name="connsiteX1" fmla="*/ 2 w 19986"/>
              <a:gd name="connsiteY1" fmla="*/ 13836 h 19312"/>
              <a:gd name="connsiteX2" fmla="*/ 3076 w 19986"/>
              <a:gd name="connsiteY2" fmla="*/ 19061 h 19312"/>
              <a:gd name="connsiteX3" fmla="*/ 11820 w 19986"/>
              <a:gd name="connsiteY3" fmla="*/ 17945 h 19312"/>
              <a:gd name="connsiteX4" fmla="*/ 19715 w 19986"/>
              <a:gd name="connsiteY4" fmla="*/ 13229 h 19312"/>
              <a:gd name="connsiteX5" fmla="*/ 19236 w 19986"/>
              <a:gd name="connsiteY5" fmla="*/ 0 h 19312"/>
              <a:gd name="connsiteX6" fmla="*/ 83 w 19986"/>
              <a:gd name="connsiteY6" fmla="*/ 0 h 19312"/>
              <a:gd name="connsiteX0" fmla="*/ 178 w 20081"/>
              <a:gd name="connsiteY0" fmla="*/ 0 h 19162"/>
              <a:gd name="connsiteX1" fmla="*/ 97 w 20081"/>
              <a:gd name="connsiteY1" fmla="*/ 13836 h 19162"/>
              <a:gd name="connsiteX2" fmla="*/ 3356 w 20081"/>
              <a:gd name="connsiteY2" fmla="*/ 18884 h 19162"/>
              <a:gd name="connsiteX3" fmla="*/ 11915 w 20081"/>
              <a:gd name="connsiteY3" fmla="*/ 17945 h 19162"/>
              <a:gd name="connsiteX4" fmla="*/ 19810 w 20081"/>
              <a:gd name="connsiteY4" fmla="*/ 13229 h 19162"/>
              <a:gd name="connsiteX5" fmla="*/ 19331 w 20081"/>
              <a:gd name="connsiteY5" fmla="*/ 0 h 19162"/>
              <a:gd name="connsiteX6" fmla="*/ 178 w 20081"/>
              <a:gd name="connsiteY6" fmla="*/ 0 h 19162"/>
              <a:gd name="connsiteX0" fmla="*/ 178 w 20081"/>
              <a:gd name="connsiteY0" fmla="*/ 0 h 19200"/>
              <a:gd name="connsiteX1" fmla="*/ 97 w 20081"/>
              <a:gd name="connsiteY1" fmla="*/ 13836 h 19200"/>
              <a:gd name="connsiteX2" fmla="*/ 3356 w 20081"/>
              <a:gd name="connsiteY2" fmla="*/ 18884 h 19200"/>
              <a:gd name="connsiteX3" fmla="*/ 11915 w 20081"/>
              <a:gd name="connsiteY3" fmla="*/ 17945 h 19200"/>
              <a:gd name="connsiteX4" fmla="*/ 19810 w 20081"/>
              <a:gd name="connsiteY4" fmla="*/ 13229 h 19200"/>
              <a:gd name="connsiteX5" fmla="*/ 19331 w 20081"/>
              <a:gd name="connsiteY5" fmla="*/ 0 h 19200"/>
              <a:gd name="connsiteX6" fmla="*/ 178 w 20081"/>
              <a:gd name="connsiteY6" fmla="*/ 0 h 19200"/>
              <a:gd name="connsiteX0" fmla="*/ 88 w 19991"/>
              <a:gd name="connsiteY0" fmla="*/ 0 h 19200"/>
              <a:gd name="connsiteX1" fmla="*/ 7 w 19991"/>
              <a:gd name="connsiteY1" fmla="*/ 13836 h 19200"/>
              <a:gd name="connsiteX2" fmla="*/ 3266 w 19991"/>
              <a:gd name="connsiteY2" fmla="*/ 18884 h 19200"/>
              <a:gd name="connsiteX3" fmla="*/ 11825 w 19991"/>
              <a:gd name="connsiteY3" fmla="*/ 17945 h 19200"/>
              <a:gd name="connsiteX4" fmla="*/ 19720 w 19991"/>
              <a:gd name="connsiteY4" fmla="*/ 13229 h 19200"/>
              <a:gd name="connsiteX5" fmla="*/ 19241 w 19991"/>
              <a:gd name="connsiteY5" fmla="*/ 0 h 19200"/>
              <a:gd name="connsiteX6" fmla="*/ 88 w 19991"/>
              <a:gd name="connsiteY6" fmla="*/ 0 h 19200"/>
              <a:gd name="connsiteX0" fmla="*/ 88 w 19991"/>
              <a:gd name="connsiteY0" fmla="*/ 0 h 19200"/>
              <a:gd name="connsiteX1" fmla="*/ 7 w 19991"/>
              <a:gd name="connsiteY1" fmla="*/ 13836 h 19200"/>
              <a:gd name="connsiteX2" fmla="*/ 3266 w 19991"/>
              <a:gd name="connsiteY2" fmla="*/ 18884 h 19200"/>
              <a:gd name="connsiteX3" fmla="*/ 11825 w 19991"/>
              <a:gd name="connsiteY3" fmla="*/ 17945 h 19200"/>
              <a:gd name="connsiteX4" fmla="*/ 19720 w 19991"/>
              <a:gd name="connsiteY4" fmla="*/ 13229 h 19200"/>
              <a:gd name="connsiteX5" fmla="*/ 19241 w 19991"/>
              <a:gd name="connsiteY5" fmla="*/ 0 h 19200"/>
              <a:gd name="connsiteX6" fmla="*/ 88 w 19991"/>
              <a:gd name="connsiteY6" fmla="*/ 0 h 19200"/>
              <a:gd name="connsiteX0" fmla="*/ 88 w 19991"/>
              <a:gd name="connsiteY0" fmla="*/ 0 h 19216"/>
              <a:gd name="connsiteX1" fmla="*/ 7 w 19991"/>
              <a:gd name="connsiteY1" fmla="*/ 13836 h 19216"/>
              <a:gd name="connsiteX2" fmla="*/ 3266 w 19991"/>
              <a:gd name="connsiteY2" fmla="*/ 18884 h 19216"/>
              <a:gd name="connsiteX3" fmla="*/ 11825 w 19991"/>
              <a:gd name="connsiteY3" fmla="*/ 17945 h 19216"/>
              <a:gd name="connsiteX4" fmla="*/ 19720 w 19991"/>
              <a:gd name="connsiteY4" fmla="*/ 13229 h 19216"/>
              <a:gd name="connsiteX5" fmla="*/ 19241 w 19991"/>
              <a:gd name="connsiteY5" fmla="*/ 0 h 19216"/>
              <a:gd name="connsiteX6" fmla="*/ 88 w 19991"/>
              <a:gd name="connsiteY6" fmla="*/ 0 h 19216"/>
              <a:gd name="connsiteX0" fmla="*/ 88 w 20007"/>
              <a:gd name="connsiteY0" fmla="*/ 0 h 19131"/>
              <a:gd name="connsiteX1" fmla="*/ 7 w 20007"/>
              <a:gd name="connsiteY1" fmla="*/ 13836 h 19131"/>
              <a:gd name="connsiteX2" fmla="*/ 3266 w 20007"/>
              <a:gd name="connsiteY2" fmla="*/ 18884 h 19131"/>
              <a:gd name="connsiteX3" fmla="*/ 12103 w 20007"/>
              <a:gd name="connsiteY3" fmla="*/ 17768 h 19131"/>
              <a:gd name="connsiteX4" fmla="*/ 19720 w 20007"/>
              <a:gd name="connsiteY4" fmla="*/ 13229 h 19131"/>
              <a:gd name="connsiteX5" fmla="*/ 19241 w 20007"/>
              <a:gd name="connsiteY5" fmla="*/ 0 h 19131"/>
              <a:gd name="connsiteX6" fmla="*/ 88 w 20007"/>
              <a:gd name="connsiteY6" fmla="*/ 0 h 19131"/>
              <a:gd name="connsiteX0" fmla="*/ 88 w 19943"/>
              <a:gd name="connsiteY0" fmla="*/ 0 h 19131"/>
              <a:gd name="connsiteX1" fmla="*/ 7 w 19943"/>
              <a:gd name="connsiteY1" fmla="*/ 13836 h 19131"/>
              <a:gd name="connsiteX2" fmla="*/ 3266 w 19943"/>
              <a:gd name="connsiteY2" fmla="*/ 18884 h 19131"/>
              <a:gd name="connsiteX3" fmla="*/ 12103 w 19943"/>
              <a:gd name="connsiteY3" fmla="*/ 17768 h 19131"/>
              <a:gd name="connsiteX4" fmla="*/ 19720 w 19943"/>
              <a:gd name="connsiteY4" fmla="*/ 13229 h 19131"/>
              <a:gd name="connsiteX5" fmla="*/ 19241 w 19943"/>
              <a:gd name="connsiteY5" fmla="*/ 0 h 19131"/>
              <a:gd name="connsiteX6" fmla="*/ 88 w 19943"/>
              <a:gd name="connsiteY6" fmla="*/ 0 h 19131"/>
              <a:gd name="connsiteX0" fmla="*/ 88 w 19959"/>
              <a:gd name="connsiteY0" fmla="*/ 0 h 19131"/>
              <a:gd name="connsiteX1" fmla="*/ 7 w 19959"/>
              <a:gd name="connsiteY1" fmla="*/ 13836 h 19131"/>
              <a:gd name="connsiteX2" fmla="*/ 3266 w 19959"/>
              <a:gd name="connsiteY2" fmla="*/ 18884 h 19131"/>
              <a:gd name="connsiteX3" fmla="*/ 12103 w 19959"/>
              <a:gd name="connsiteY3" fmla="*/ 17768 h 19131"/>
              <a:gd name="connsiteX4" fmla="*/ 19720 w 19959"/>
              <a:gd name="connsiteY4" fmla="*/ 13229 h 19131"/>
              <a:gd name="connsiteX5" fmla="*/ 19241 w 19959"/>
              <a:gd name="connsiteY5" fmla="*/ 0 h 19131"/>
              <a:gd name="connsiteX6" fmla="*/ 88 w 19959"/>
              <a:gd name="connsiteY6" fmla="*/ 0 h 19131"/>
              <a:gd name="connsiteX0" fmla="*/ 88 w 20049"/>
              <a:gd name="connsiteY0" fmla="*/ 0 h 19165"/>
              <a:gd name="connsiteX1" fmla="*/ 7 w 20049"/>
              <a:gd name="connsiteY1" fmla="*/ 13836 h 19165"/>
              <a:gd name="connsiteX2" fmla="*/ 3266 w 20049"/>
              <a:gd name="connsiteY2" fmla="*/ 18884 h 19165"/>
              <a:gd name="connsiteX3" fmla="*/ 11409 w 20049"/>
              <a:gd name="connsiteY3" fmla="*/ 17901 h 19165"/>
              <a:gd name="connsiteX4" fmla="*/ 19720 w 20049"/>
              <a:gd name="connsiteY4" fmla="*/ 13229 h 19165"/>
              <a:gd name="connsiteX5" fmla="*/ 19241 w 20049"/>
              <a:gd name="connsiteY5" fmla="*/ 0 h 19165"/>
              <a:gd name="connsiteX6" fmla="*/ 88 w 20049"/>
              <a:gd name="connsiteY6" fmla="*/ 0 h 19165"/>
              <a:gd name="connsiteX0" fmla="*/ 88 w 20015"/>
              <a:gd name="connsiteY0" fmla="*/ 0 h 19165"/>
              <a:gd name="connsiteX1" fmla="*/ 7 w 20015"/>
              <a:gd name="connsiteY1" fmla="*/ 13836 h 19165"/>
              <a:gd name="connsiteX2" fmla="*/ 3266 w 20015"/>
              <a:gd name="connsiteY2" fmla="*/ 18884 h 19165"/>
              <a:gd name="connsiteX3" fmla="*/ 11409 w 20015"/>
              <a:gd name="connsiteY3" fmla="*/ 17901 h 19165"/>
              <a:gd name="connsiteX4" fmla="*/ 19720 w 20015"/>
              <a:gd name="connsiteY4" fmla="*/ 13229 h 19165"/>
              <a:gd name="connsiteX5" fmla="*/ 19241 w 20015"/>
              <a:gd name="connsiteY5" fmla="*/ 0 h 19165"/>
              <a:gd name="connsiteX6" fmla="*/ 88 w 20015"/>
              <a:gd name="connsiteY6" fmla="*/ 0 h 19165"/>
              <a:gd name="connsiteX0" fmla="*/ 88 w 19982"/>
              <a:gd name="connsiteY0" fmla="*/ 0 h 19165"/>
              <a:gd name="connsiteX1" fmla="*/ 7 w 19982"/>
              <a:gd name="connsiteY1" fmla="*/ 13836 h 19165"/>
              <a:gd name="connsiteX2" fmla="*/ 3266 w 19982"/>
              <a:gd name="connsiteY2" fmla="*/ 18884 h 19165"/>
              <a:gd name="connsiteX3" fmla="*/ 11409 w 19982"/>
              <a:gd name="connsiteY3" fmla="*/ 17901 h 19165"/>
              <a:gd name="connsiteX4" fmla="*/ 19720 w 19982"/>
              <a:gd name="connsiteY4" fmla="*/ 13229 h 19165"/>
              <a:gd name="connsiteX5" fmla="*/ 19241 w 19982"/>
              <a:gd name="connsiteY5" fmla="*/ 0 h 19165"/>
              <a:gd name="connsiteX6" fmla="*/ 88 w 19982"/>
              <a:gd name="connsiteY6" fmla="*/ 0 h 19165"/>
              <a:gd name="connsiteX0" fmla="*/ 88 w 20043"/>
              <a:gd name="connsiteY0" fmla="*/ 0 h 19263"/>
              <a:gd name="connsiteX1" fmla="*/ 7 w 20043"/>
              <a:gd name="connsiteY1" fmla="*/ 13836 h 19263"/>
              <a:gd name="connsiteX2" fmla="*/ 3266 w 20043"/>
              <a:gd name="connsiteY2" fmla="*/ 18884 h 19263"/>
              <a:gd name="connsiteX3" fmla="*/ 11502 w 20043"/>
              <a:gd name="connsiteY3" fmla="*/ 18210 h 19263"/>
              <a:gd name="connsiteX4" fmla="*/ 19720 w 20043"/>
              <a:gd name="connsiteY4" fmla="*/ 13229 h 19263"/>
              <a:gd name="connsiteX5" fmla="*/ 19241 w 20043"/>
              <a:gd name="connsiteY5" fmla="*/ 0 h 19263"/>
              <a:gd name="connsiteX6" fmla="*/ 88 w 20043"/>
              <a:gd name="connsiteY6" fmla="*/ 0 h 19263"/>
              <a:gd name="connsiteX0" fmla="*/ 88 w 19900"/>
              <a:gd name="connsiteY0" fmla="*/ 0 h 19263"/>
              <a:gd name="connsiteX1" fmla="*/ 7 w 19900"/>
              <a:gd name="connsiteY1" fmla="*/ 13836 h 19263"/>
              <a:gd name="connsiteX2" fmla="*/ 3266 w 19900"/>
              <a:gd name="connsiteY2" fmla="*/ 18884 h 19263"/>
              <a:gd name="connsiteX3" fmla="*/ 11502 w 19900"/>
              <a:gd name="connsiteY3" fmla="*/ 18210 h 19263"/>
              <a:gd name="connsiteX4" fmla="*/ 19720 w 19900"/>
              <a:gd name="connsiteY4" fmla="*/ 13229 h 19263"/>
              <a:gd name="connsiteX5" fmla="*/ 19241 w 19900"/>
              <a:gd name="connsiteY5" fmla="*/ 0 h 19263"/>
              <a:gd name="connsiteX6" fmla="*/ 88 w 19900"/>
              <a:gd name="connsiteY6" fmla="*/ 0 h 19263"/>
              <a:gd name="connsiteX0" fmla="*/ 88 w 19961"/>
              <a:gd name="connsiteY0" fmla="*/ 0 h 19263"/>
              <a:gd name="connsiteX1" fmla="*/ 7 w 19961"/>
              <a:gd name="connsiteY1" fmla="*/ 13836 h 19263"/>
              <a:gd name="connsiteX2" fmla="*/ 3266 w 19961"/>
              <a:gd name="connsiteY2" fmla="*/ 18884 h 19263"/>
              <a:gd name="connsiteX3" fmla="*/ 11502 w 19961"/>
              <a:gd name="connsiteY3" fmla="*/ 18210 h 19263"/>
              <a:gd name="connsiteX4" fmla="*/ 19720 w 19961"/>
              <a:gd name="connsiteY4" fmla="*/ 13229 h 19263"/>
              <a:gd name="connsiteX5" fmla="*/ 19241 w 19961"/>
              <a:gd name="connsiteY5" fmla="*/ 0 h 19263"/>
              <a:gd name="connsiteX6" fmla="*/ 88 w 19961"/>
              <a:gd name="connsiteY6" fmla="*/ 0 h 19263"/>
              <a:gd name="connsiteX0" fmla="*/ 171 w 20044"/>
              <a:gd name="connsiteY0" fmla="*/ 0 h 19454"/>
              <a:gd name="connsiteX1" fmla="*/ 90 w 20044"/>
              <a:gd name="connsiteY1" fmla="*/ 13836 h 19454"/>
              <a:gd name="connsiteX2" fmla="*/ 3210 w 20044"/>
              <a:gd name="connsiteY2" fmla="*/ 19149 h 19454"/>
              <a:gd name="connsiteX3" fmla="*/ 11585 w 20044"/>
              <a:gd name="connsiteY3" fmla="*/ 18210 h 19454"/>
              <a:gd name="connsiteX4" fmla="*/ 19803 w 20044"/>
              <a:gd name="connsiteY4" fmla="*/ 13229 h 19454"/>
              <a:gd name="connsiteX5" fmla="*/ 19324 w 20044"/>
              <a:gd name="connsiteY5" fmla="*/ 0 h 19454"/>
              <a:gd name="connsiteX6" fmla="*/ 171 w 20044"/>
              <a:gd name="connsiteY6" fmla="*/ 0 h 19454"/>
              <a:gd name="connsiteX0" fmla="*/ 171 w 20101"/>
              <a:gd name="connsiteY0" fmla="*/ 0 h 19369"/>
              <a:gd name="connsiteX1" fmla="*/ 90 w 20101"/>
              <a:gd name="connsiteY1" fmla="*/ 13836 h 19369"/>
              <a:gd name="connsiteX2" fmla="*/ 3210 w 20101"/>
              <a:gd name="connsiteY2" fmla="*/ 19149 h 19369"/>
              <a:gd name="connsiteX3" fmla="*/ 12002 w 20101"/>
              <a:gd name="connsiteY3" fmla="*/ 17856 h 19369"/>
              <a:gd name="connsiteX4" fmla="*/ 19803 w 20101"/>
              <a:gd name="connsiteY4" fmla="*/ 13229 h 19369"/>
              <a:gd name="connsiteX5" fmla="*/ 19324 w 20101"/>
              <a:gd name="connsiteY5" fmla="*/ 0 h 19369"/>
              <a:gd name="connsiteX6" fmla="*/ 171 w 20101"/>
              <a:gd name="connsiteY6" fmla="*/ 0 h 19369"/>
              <a:gd name="connsiteX0" fmla="*/ 171 w 20101"/>
              <a:gd name="connsiteY0" fmla="*/ 0 h 19328"/>
              <a:gd name="connsiteX1" fmla="*/ 90 w 20101"/>
              <a:gd name="connsiteY1" fmla="*/ 13836 h 19328"/>
              <a:gd name="connsiteX2" fmla="*/ 3210 w 20101"/>
              <a:gd name="connsiteY2" fmla="*/ 19149 h 19328"/>
              <a:gd name="connsiteX3" fmla="*/ 12002 w 20101"/>
              <a:gd name="connsiteY3" fmla="*/ 17856 h 19328"/>
              <a:gd name="connsiteX4" fmla="*/ 19803 w 20101"/>
              <a:gd name="connsiteY4" fmla="*/ 13229 h 19328"/>
              <a:gd name="connsiteX5" fmla="*/ 19324 w 20101"/>
              <a:gd name="connsiteY5" fmla="*/ 0 h 19328"/>
              <a:gd name="connsiteX6" fmla="*/ 171 w 20101"/>
              <a:gd name="connsiteY6" fmla="*/ 0 h 19328"/>
              <a:gd name="connsiteX0" fmla="*/ 171 w 20101"/>
              <a:gd name="connsiteY0" fmla="*/ 0 h 19328"/>
              <a:gd name="connsiteX1" fmla="*/ 90 w 20101"/>
              <a:gd name="connsiteY1" fmla="*/ 13836 h 19328"/>
              <a:gd name="connsiteX2" fmla="*/ 3210 w 20101"/>
              <a:gd name="connsiteY2" fmla="*/ 19149 h 19328"/>
              <a:gd name="connsiteX3" fmla="*/ 12002 w 20101"/>
              <a:gd name="connsiteY3" fmla="*/ 17856 h 19328"/>
              <a:gd name="connsiteX4" fmla="*/ 19803 w 20101"/>
              <a:gd name="connsiteY4" fmla="*/ 13229 h 19328"/>
              <a:gd name="connsiteX5" fmla="*/ 19324 w 20101"/>
              <a:gd name="connsiteY5" fmla="*/ 0 h 19328"/>
              <a:gd name="connsiteX6" fmla="*/ 171 w 20101"/>
              <a:gd name="connsiteY6" fmla="*/ 0 h 19328"/>
              <a:gd name="connsiteX0" fmla="*/ 171 w 20118"/>
              <a:gd name="connsiteY0" fmla="*/ 0 h 19328"/>
              <a:gd name="connsiteX1" fmla="*/ 90 w 20118"/>
              <a:gd name="connsiteY1" fmla="*/ 13836 h 19328"/>
              <a:gd name="connsiteX2" fmla="*/ 3210 w 20118"/>
              <a:gd name="connsiteY2" fmla="*/ 19149 h 19328"/>
              <a:gd name="connsiteX3" fmla="*/ 12002 w 20118"/>
              <a:gd name="connsiteY3" fmla="*/ 17856 h 19328"/>
              <a:gd name="connsiteX4" fmla="*/ 19803 w 20118"/>
              <a:gd name="connsiteY4" fmla="*/ 13229 h 19328"/>
              <a:gd name="connsiteX5" fmla="*/ 19324 w 20118"/>
              <a:gd name="connsiteY5" fmla="*/ 0 h 19328"/>
              <a:gd name="connsiteX6" fmla="*/ 171 w 20118"/>
              <a:gd name="connsiteY6" fmla="*/ 0 h 19328"/>
              <a:gd name="connsiteX0" fmla="*/ 171 w 20118"/>
              <a:gd name="connsiteY0" fmla="*/ 0 h 19502"/>
              <a:gd name="connsiteX1" fmla="*/ 90 w 20118"/>
              <a:gd name="connsiteY1" fmla="*/ 13836 h 19502"/>
              <a:gd name="connsiteX2" fmla="*/ 3210 w 20118"/>
              <a:gd name="connsiteY2" fmla="*/ 19149 h 19502"/>
              <a:gd name="connsiteX3" fmla="*/ 12002 w 20118"/>
              <a:gd name="connsiteY3" fmla="*/ 17856 h 19502"/>
              <a:gd name="connsiteX4" fmla="*/ 19803 w 20118"/>
              <a:gd name="connsiteY4" fmla="*/ 13229 h 19502"/>
              <a:gd name="connsiteX5" fmla="*/ 19324 w 20118"/>
              <a:gd name="connsiteY5" fmla="*/ 0 h 19502"/>
              <a:gd name="connsiteX6" fmla="*/ 171 w 20118"/>
              <a:gd name="connsiteY6" fmla="*/ 0 h 19502"/>
              <a:gd name="connsiteX0" fmla="*/ 171 w 20118"/>
              <a:gd name="connsiteY0" fmla="*/ 0 h 19484"/>
              <a:gd name="connsiteX1" fmla="*/ 90 w 20118"/>
              <a:gd name="connsiteY1" fmla="*/ 13836 h 19484"/>
              <a:gd name="connsiteX2" fmla="*/ 3210 w 20118"/>
              <a:gd name="connsiteY2" fmla="*/ 19149 h 19484"/>
              <a:gd name="connsiteX3" fmla="*/ 12002 w 20118"/>
              <a:gd name="connsiteY3" fmla="*/ 17856 h 19484"/>
              <a:gd name="connsiteX4" fmla="*/ 19803 w 20118"/>
              <a:gd name="connsiteY4" fmla="*/ 13229 h 19484"/>
              <a:gd name="connsiteX5" fmla="*/ 19324 w 20118"/>
              <a:gd name="connsiteY5" fmla="*/ 0 h 19484"/>
              <a:gd name="connsiteX6" fmla="*/ 171 w 20118"/>
              <a:gd name="connsiteY6" fmla="*/ 0 h 19484"/>
              <a:gd name="connsiteX0" fmla="*/ 105 w 20052"/>
              <a:gd name="connsiteY0" fmla="*/ 0 h 19484"/>
              <a:gd name="connsiteX1" fmla="*/ 24 w 20052"/>
              <a:gd name="connsiteY1" fmla="*/ 13836 h 19484"/>
              <a:gd name="connsiteX2" fmla="*/ 3144 w 20052"/>
              <a:gd name="connsiteY2" fmla="*/ 19149 h 19484"/>
              <a:gd name="connsiteX3" fmla="*/ 11936 w 20052"/>
              <a:gd name="connsiteY3" fmla="*/ 17856 h 19484"/>
              <a:gd name="connsiteX4" fmla="*/ 19737 w 20052"/>
              <a:gd name="connsiteY4" fmla="*/ 13229 h 19484"/>
              <a:gd name="connsiteX5" fmla="*/ 19258 w 20052"/>
              <a:gd name="connsiteY5" fmla="*/ 0 h 19484"/>
              <a:gd name="connsiteX6" fmla="*/ 105 w 20052"/>
              <a:gd name="connsiteY6" fmla="*/ 0 h 19484"/>
              <a:gd name="connsiteX0" fmla="*/ 169 w 20116"/>
              <a:gd name="connsiteY0" fmla="*/ 0 h 19348"/>
              <a:gd name="connsiteX1" fmla="*/ 88 w 20116"/>
              <a:gd name="connsiteY1" fmla="*/ 13836 h 19348"/>
              <a:gd name="connsiteX2" fmla="*/ 3162 w 20116"/>
              <a:gd name="connsiteY2" fmla="*/ 18928 h 19348"/>
              <a:gd name="connsiteX3" fmla="*/ 12000 w 20116"/>
              <a:gd name="connsiteY3" fmla="*/ 17856 h 19348"/>
              <a:gd name="connsiteX4" fmla="*/ 19801 w 20116"/>
              <a:gd name="connsiteY4" fmla="*/ 13229 h 19348"/>
              <a:gd name="connsiteX5" fmla="*/ 19322 w 20116"/>
              <a:gd name="connsiteY5" fmla="*/ 0 h 19348"/>
              <a:gd name="connsiteX6" fmla="*/ 169 w 20116"/>
              <a:gd name="connsiteY6" fmla="*/ 0 h 19348"/>
              <a:gd name="connsiteX0" fmla="*/ 169 w 20116"/>
              <a:gd name="connsiteY0" fmla="*/ 0 h 19368"/>
              <a:gd name="connsiteX1" fmla="*/ 88 w 20116"/>
              <a:gd name="connsiteY1" fmla="*/ 13836 h 19368"/>
              <a:gd name="connsiteX2" fmla="*/ 3162 w 20116"/>
              <a:gd name="connsiteY2" fmla="*/ 18928 h 19368"/>
              <a:gd name="connsiteX3" fmla="*/ 12000 w 20116"/>
              <a:gd name="connsiteY3" fmla="*/ 17856 h 19368"/>
              <a:gd name="connsiteX4" fmla="*/ 19801 w 20116"/>
              <a:gd name="connsiteY4" fmla="*/ 13229 h 19368"/>
              <a:gd name="connsiteX5" fmla="*/ 19322 w 20116"/>
              <a:gd name="connsiteY5" fmla="*/ 0 h 19368"/>
              <a:gd name="connsiteX6" fmla="*/ 169 w 20116"/>
              <a:gd name="connsiteY6" fmla="*/ 0 h 19368"/>
              <a:gd name="connsiteX0" fmla="*/ 723 w 20670"/>
              <a:gd name="connsiteY0" fmla="*/ 0 h 17862"/>
              <a:gd name="connsiteX1" fmla="*/ 642 w 20670"/>
              <a:gd name="connsiteY1" fmla="*/ 13836 h 17862"/>
              <a:gd name="connsiteX2" fmla="*/ 12554 w 20670"/>
              <a:gd name="connsiteY2" fmla="*/ 17856 h 17862"/>
              <a:gd name="connsiteX3" fmla="*/ 20355 w 20670"/>
              <a:gd name="connsiteY3" fmla="*/ 13229 h 17862"/>
              <a:gd name="connsiteX4" fmla="*/ 19876 w 20670"/>
              <a:gd name="connsiteY4" fmla="*/ 0 h 17862"/>
              <a:gd name="connsiteX5" fmla="*/ 723 w 20670"/>
              <a:gd name="connsiteY5" fmla="*/ 0 h 17862"/>
              <a:gd name="connsiteX0" fmla="*/ 425 w 20372"/>
              <a:gd name="connsiteY0" fmla="*/ 0 h 19278"/>
              <a:gd name="connsiteX1" fmla="*/ 344 w 20372"/>
              <a:gd name="connsiteY1" fmla="*/ 13836 h 19278"/>
              <a:gd name="connsiteX2" fmla="*/ 12256 w 20372"/>
              <a:gd name="connsiteY2" fmla="*/ 17856 h 19278"/>
              <a:gd name="connsiteX3" fmla="*/ 20057 w 20372"/>
              <a:gd name="connsiteY3" fmla="*/ 13229 h 19278"/>
              <a:gd name="connsiteX4" fmla="*/ 19578 w 20372"/>
              <a:gd name="connsiteY4" fmla="*/ 0 h 19278"/>
              <a:gd name="connsiteX5" fmla="*/ 425 w 20372"/>
              <a:gd name="connsiteY5" fmla="*/ 0 h 19278"/>
              <a:gd name="connsiteX0" fmla="*/ 425 w 20372"/>
              <a:gd name="connsiteY0" fmla="*/ 0 h 19588"/>
              <a:gd name="connsiteX1" fmla="*/ 344 w 20372"/>
              <a:gd name="connsiteY1" fmla="*/ 13836 h 19588"/>
              <a:gd name="connsiteX2" fmla="*/ 12256 w 20372"/>
              <a:gd name="connsiteY2" fmla="*/ 17856 h 19588"/>
              <a:gd name="connsiteX3" fmla="*/ 20057 w 20372"/>
              <a:gd name="connsiteY3" fmla="*/ 13229 h 19588"/>
              <a:gd name="connsiteX4" fmla="*/ 19578 w 20372"/>
              <a:gd name="connsiteY4" fmla="*/ 0 h 19588"/>
              <a:gd name="connsiteX5" fmla="*/ 425 w 20372"/>
              <a:gd name="connsiteY5" fmla="*/ 0 h 19588"/>
              <a:gd name="connsiteX0" fmla="*/ 425 w 20372"/>
              <a:gd name="connsiteY0" fmla="*/ 0 h 19522"/>
              <a:gd name="connsiteX1" fmla="*/ 344 w 20372"/>
              <a:gd name="connsiteY1" fmla="*/ 13836 h 19522"/>
              <a:gd name="connsiteX2" fmla="*/ 12256 w 20372"/>
              <a:gd name="connsiteY2" fmla="*/ 17856 h 19522"/>
              <a:gd name="connsiteX3" fmla="*/ 20057 w 20372"/>
              <a:gd name="connsiteY3" fmla="*/ 13229 h 19522"/>
              <a:gd name="connsiteX4" fmla="*/ 19578 w 20372"/>
              <a:gd name="connsiteY4" fmla="*/ 0 h 19522"/>
              <a:gd name="connsiteX5" fmla="*/ 425 w 20372"/>
              <a:gd name="connsiteY5" fmla="*/ 0 h 19522"/>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266 w 20213"/>
              <a:gd name="connsiteY0" fmla="*/ 0 h 18865"/>
              <a:gd name="connsiteX1" fmla="*/ 0 w 20213"/>
              <a:gd name="connsiteY1" fmla="*/ 13438 h 18865"/>
              <a:gd name="connsiteX2" fmla="*/ 12097 w 20213"/>
              <a:gd name="connsiteY2" fmla="*/ 17856 h 18865"/>
              <a:gd name="connsiteX3" fmla="*/ 19898 w 20213"/>
              <a:gd name="connsiteY3" fmla="*/ 13229 h 18865"/>
              <a:gd name="connsiteX4" fmla="*/ 19419 w 20213"/>
              <a:gd name="connsiteY4" fmla="*/ 0 h 18865"/>
              <a:gd name="connsiteX5" fmla="*/ 266 w 20213"/>
              <a:gd name="connsiteY5" fmla="*/ 0 h 18865"/>
              <a:gd name="connsiteX0" fmla="*/ 266 w 20213"/>
              <a:gd name="connsiteY0" fmla="*/ 0 h 19301"/>
              <a:gd name="connsiteX1" fmla="*/ 0 w 20213"/>
              <a:gd name="connsiteY1" fmla="*/ 13438 h 19301"/>
              <a:gd name="connsiteX2" fmla="*/ 12097 w 20213"/>
              <a:gd name="connsiteY2" fmla="*/ 17856 h 19301"/>
              <a:gd name="connsiteX3" fmla="*/ 19898 w 20213"/>
              <a:gd name="connsiteY3" fmla="*/ 13229 h 19301"/>
              <a:gd name="connsiteX4" fmla="*/ 19419 w 20213"/>
              <a:gd name="connsiteY4" fmla="*/ 0 h 19301"/>
              <a:gd name="connsiteX5" fmla="*/ 266 w 20213"/>
              <a:gd name="connsiteY5" fmla="*/ 0 h 19301"/>
              <a:gd name="connsiteX0" fmla="*/ 266 w 20213"/>
              <a:gd name="connsiteY0" fmla="*/ 0 h 19560"/>
              <a:gd name="connsiteX1" fmla="*/ 0 w 20213"/>
              <a:gd name="connsiteY1" fmla="*/ 13438 h 19560"/>
              <a:gd name="connsiteX2" fmla="*/ 12097 w 20213"/>
              <a:gd name="connsiteY2" fmla="*/ 17856 h 19560"/>
              <a:gd name="connsiteX3" fmla="*/ 19898 w 20213"/>
              <a:gd name="connsiteY3" fmla="*/ 13229 h 19560"/>
              <a:gd name="connsiteX4" fmla="*/ 19419 w 20213"/>
              <a:gd name="connsiteY4" fmla="*/ 0 h 19560"/>
              <a:gd name="connsiteX5" fmla="*/ 266 w 20213"/>
              <a:gd name="connsiteY5" fmla="*/ 0 h 19560"/>
              <a:gd name="connsiteX0" fmla="*/ 266 w 20163"/>
              <a:gd name="connsiteY0" fmla="*/ 0 h 19560"/>
              <a:gd name="connsiteX1" fmla="*/ 0 w 20163"/>
              <a:gd name="connsiteY1" fmla="*/ 13438 h 19560"/>
              <a:gd name="connsiteX2" fmla="*/ 12097 w 20163"/>
              <a:gd name="connsiteY2" fmla="*/ 17856 h 19560"/>
              <a:gd name="connsiteX3" fmla="*/ 19898 w 20163"/>
              <a:gd name="connsiteY3" fmla="*/ 13229 h 19560"/>
              <a:gd name="connsiteX4" fmla="*/ 19419 w 20163"/>
              <a:gd name="connsiteY4" fmla="*/ 0 h 19560"/>
              <a:gd name="connsiteX5" fmla="*/ 266 w 20163"/>
              <a:gd name="connsiteY5" fmla="*/ 0 h 1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3" h="19560" extrusionOk="0">
                <a:moveTo>
                  <a:pt x="266" y="0"/>
                </a:moveTo>
                <a:cubicBezTo>
                  <a:pt x="1111" y="4384"/>
                  <a:pt x="112" y="8738"/>
                  <a:pt x="0" y="13438"/>
                </a:cubicBezTo>
                <a:cubicBezTo>
                  <a:pt x="166" y="23132"/>
                  <a:pt x="7809" y="18598"/>
                  <a:pt x="12097" y="17856"/>
                </a:cubicBezTo>
                <a:cubicBezTo>
                  <a:pt x="16385" y="17114"/>
                  <a:pt x="18771" y="17222"/>
                  <a:pt x="19898" y="13229"/>
                </a:cubicBezTo>
                <a:cubicBezTo>
                  <a:pt x="21025" y="9236"/>
                  <a:pt x="18118" y="2604"/>
                  <a:pt x="19419" y="0"/>
                </a:cubicBezTo>
                <a:lnTo>
                  <a:pt x="266" y="0"/>
                </a:lnTo>
                <a:close/>
              </a:path>
            </a:pathLst>
          </a:custGeom>
          <a:solidFill>
            <a:schemeClr val="bg2"/>
          </a:solidFill>
          <a:ln>
            <a:noFill/>
          </a:ln>
          <a:effectLst>
            <a:outerShdw blurRad="127000" dist="38100" algn="l" rotWithShape="0">
              <a:schemeClr val="tx2">
                <a:lumMod val="75000"/>
                <a:alpha val="50000"/>
              </a:schemeClr>
            </a:outerShdw>
          </a:effectLst>
        </p:spPr>
        <p:txBody>
          <a:bodyPr lIns="25400" tIns="25400" rIns="25400" bIns="25400" anchor="ctr"/>
          <a:lstStyle/>
          <a:p>
            <a:endParaRPr lang="en-US" sz="900" dirty="0"/>
          </a:p>
        </p:txBody>
      </p:sp>
      <p:sp>
        <p:nvSpPr>
          <p:cNvPr id="8" name="Freeform: Shape 5">
            <a:extLst>
              <a:ext uri="{FF2B5EF4-FFF2-40B4-BE49-F238E27FC236}">
                <a16:creationId xmlns:a16="http://schemas.microsoft.com/office/drawing/2014/main" id="{715697B4-194C-024E-AE15-553BDA4A6584}"/>
              </a:ext>
            </a:extLst>
          </p:cNvPr>
          <p:cNvSpPr>
            <a:spLocks noGrp="1"/>
          </p:cNvSpPr>
          <p:nvPr>
            <p:ph type="pic" idx="13"/>
          </p:nvPr>
        </p:nvSpPr>
        <p:spPr>
          <a:xfrm>
            <a:off x="1587" y="315107"/>
            <a:ext cx="6463769" cy="6227786"/>
          </a:xfrm>
          <a:custGeom>
            <a:avLst/>
            <a:gdLst>
              <a:gd name="connsiteX0" fmla="*/ 7733741 w 13247144"/>
              <a:gd name="connsiteY0" fmla="*/ 0 h 12763509"/>
              <a:gd name="connsiteX1" fmla="*/ 7739719 w 13247144"/>
              <a:gd name="connsiteY1" fmla="*/ 0 h 12763509"/>
              <a:gd name="connsiteX2" fmla="*/ 7973038 w 13247144"/>
              <a:gd name="connsiteY2" fmla="*/ 4297 h 12763509"/>
              <a:gd name="connsiteX3" fmla="*/ 11030146 w 13247144"/>
              <a:gd name="connsiteY3" fmla="*/ 1383044 h 12763509"/>
              <a:gd name="connsiteX4" fmla="*/ 12265885 w 13247144"/>
              <a:gd name="connsiteY4" fmla="*/ 5160659 h 12763509"/>
              <a:gd name="connsiteX5" fmla="*/ 13243749 w 13247144"/>
              <a:gd name="connsiteY5" fmla="*/ 9269474 h 12763509"/>
              <a:gd name="connsiteX6" fmla="*/ 13247144 w 13247144"/>
              <a:gd name="connsiteY6" fmla="*/ 9462591 h 12763509"/>
              <a:gd name="connsiteX7" fmla="*/ 13247144 w 13247144"/>
              <a:gd name="connsiteY7" fmla="*/ 9470522 h 12763509"/>
              <a:gd name="connsiteX8" fmla="*/ 13241793 w 13247144"/>
              <a:gd name="connsiteY8" fmla="*/ 9663788 h 12763509"/>
              <a:gd name="connsiteX9" fmla="*/ 12559244 w 13247144"/>
              <a:gd name="connsiteY9" fmla="*/ 11510705 h 12763509"/>
              <a:gd name="connsiteX10" fmla="*/ 6735561 w 13247144"/>
              <a:gd name="connsiteY10" fmla="*/ 12526395 h 12763509"/>
              <a:gd name="connsiteX11" fmla="*/ 0 w 13247144"/>
              <a:gd name="connsiteY11" fmla="*/ 12603775 h 12763509"/>
              <a:gd name="connsiteX12" fmla="*/ 0 w 13247144"/>
              <a:gd name="connsiteY12" fmla="*/ 771315 h 12763509"/>
              <a:gd name="connsiteX13" fmla="*/ 3138026 w 13247144"/>
              <a:gd name="connsiteY13" fmla="*/ 646410 h 12763509"/>
              <a:gd name="connsiteX14" fmla="*/ 7466095 w 13247144"/>
              <a:gd name="connsiteY14" fmla="*/ 4104 h 127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47144" h="12763509">
                <a:moveTo>
                  <a:pt x="7733741" y="0"/>
                </a:moveTo>
                <a:lnTo>
                  <a:pt x="7739719" y="0"/>
                </a:lnTo>
                <a:lnTo>
                  <a:pt x="7973038" y="4297"/>
                </a:lnTo>
                <a:cubicBezTo>
                  <a:pt x="9145520" y="45980"/>
                  <a:pt x="10200207" y="394277"/>
                  <a:pt x="11030146" y="1383044"/>
                </a:cubicBezTo>
                <a:cubicBezTo>
                  <a:pt x="11912817" y="2434683"/>
                  <a:pt x="11956301" y="3854335"/>
                  <a:pt x="12265885" y="5160659"/>
                </a:cubicBezTo>
                <a:cubicBezTo>
                  <a:pt x="12587963" y="6519761"/>
                  <a:pt x="13192214" y="7944554"/>
                  <a:pt x="13243749" y="9269474"/>
                </a:cubicBezTo>
                <a:lnTo>
                  <a:pt x="13247144" y="9462591"/>
                </a:lnTo>
                <a:lnTo>
                  <a:pt x="13247144" y="9470522"/>
                </a:lnTo>
                <a:lnTo>
                  <a:pt x="13241793" y="9663788"/>
                </a:lnTo>
                <a:cubicBezTo>
                  <a:pt x="13208115" y="10315432"/>
                  <a:pt x="13015385" y="10937970"/>
                  <a:pt x="12559244" y="11510705"/>
                </a:cubicBezTo>
                <a:cubicBezTo>
                  <a:pt x="11246919" y="13157622"/>
                  <a:pt x="8870846" y="12804842"/>
                  <a:pt x="6735561" y="12526395"/>
                </a:cubicBezTo>
                <a:cubicBezTo>
                  <a:pt x="4497730" y="12233935"/>
                  <a:pt x="2230043" y="12260134"/>
                  <a:pt x="0" y="12603775"/>
                </a:cubicBezTo>
                <a:lnTo>
                  <a:pt x="0" y="771315"/>
                </a:lnTo>
                <a:cubicBezTo>
                  <a:pt x="1057259" y="814574"/>
                  <a:pt x="2109974" y="802388"/>
                  <a:pt x="3138026" y="646410"/>
                </a:cubicBezTo>
                <a:cubicBezTo>
                  <a:pt x="4607455" y="424208"/>
                  <a:pt x="6102553" y="47780"/>
                  <a:pt x="7466095" y="4104"/>
                </a:cubicBezTo>
                <a:close/>
              </a:path>
            </a:pathLst>
          </a:custGeom>
          <a:solidFill>
            <a:schemeClr val="tx2"/>
          </a:solid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sp>
        <p:nvSpPr>
          <p:cNvPr id="6" name="Title 1">
            <a:extLst>
              <a:ext uri="{FF2B5EF4-FFF2-40B4-BE49-F238E27FC236}">
                <a16:creationId xmlns:a16="http://schemas.microsoft.com/office/drawing/2014/main" id="{62591A4B-DA9E-ED40-9A95-C47C46F832FF}"/>
              </a:ext>
            </a:extLst>
          </p:cNvPr>
          <p:cNvSpPr>
            <a:spLocks noGrp="1"/>
          </p:cNvSpPr>
          <p:nvPr>
            <p:ph type="title" hasCustomPrompt="1"/>
          </p:nvPr>
        </p:nvSpPr>
        <p:spPr>
          <a:xfrm>
            <a:off x="6896803" y="1832562"/>
            <a:ext cx="5003002" cy="1325563"/>
          </a:xfrm>
          <a:prstGeom prst="rect">
            <a:avLst/>
          </a:prstGeom>
        </p:spPr>
        <p:txBody>
          <a:bodyPr anchor="b"/>
          <a:lstStyle>
            <a:lvl1pPr>
              <a:defRPr>
                <a:solidFill>
                  <a:schemeClr val="accent4"/>
                </a:solidFill>
              </a:defRPr>
            </a:lvl1pPr>
          </a:lstStyle>
          <a:p>
            <a:r>
              <a:rPr lang="en-US"/>
              <a:t>Headline</a:t>
            </a:r>
          </a:p>
        </p:txBody>
      </p:sp>
      <p:sp>
        <p:nvSpPr>
          <p:cNvPr id="5" name="Text Placeholder 32">
            <a:extLst>
              <a:ext uri="{FF2B5EF4-FFF2-40B4-BE49-F238E27FC236}">
                <a16:creationId xmlns:a16="http://schemas.microsoft.com/office/drawing/2014/main" id="{5640436D-6AA8-7A4D-B6D2-E192BA09437B}"/>
              </a:ext>
            </a:extLst>
          </p:cNvPr>
          <p:cNvSpPr>
            <a:spLocks noGrp="1"/>
          </p:cNvSpPr>
          <p:nvPr>
            <p:ph type="body" sz="quarter" idx="15" hasCustomPrompt="1"/>
          </p:nvPr>
        </p:nvSpPr>
        <p:spPr>
          <a:xfrm>
            <a:off x="6922929" y="3158125"/>
            <a:ext cx="5003002" cy="2828072"/>
          </a:xfrm>
        </p:spPr>
        <p:txBody>
          <a:bodyPr anchor="t">
            <a:normAutofit/>
          </a:bodyPr>
          <a:lstStyle>
            <a:lvl1pPr>
              <a:lnSpc>
                <a:spcPct val="10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7" name="Slide Number Placeholder 8">
            <a:extLst>
              <a:ext uri="{FF2B5EF4-FFF2-40B4-BE49-F238E27FC236}">
                <a16:creationId xmlns:a16="http://schemas.microsoft.com/office/drawing/2014/main" id="{C741F94A-BBA9-DF40-800E-BA3DAA48242D}"/>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92880233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Image + Headline &amp; Copy">
    <p:bg>
      <p:bgPr>
        <a:solidFill>
          <a:schemeClr val="bg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A84838C-C457-474C-9EBB-6902B78CE5B4}"/>
              </a:ext>
            </a:extLst>
          </p:cNvPr>
          <p:cNvSpPr>
            <a:spLocks noGrp="1"/>
          </p:cNvSpPr>
          <p:nvPr>
            <p:ph type="pic" idx="13"/>
          </p:nvPr>
        </p:nvSpPr>
        <p:spPr>
          <a:xfrm>
            <a:off x="-3573" y="-4100"/>
            <a:ext cx="12195573" cy="3821305"/>
          </a:xfrm>
          <a:custGeom>
            <a:avLst/>
            <a:gdLst>
              <a:gd name="connsiteX0" fmla="*/ 2259 w 24391144"/>
              <a:gd name="connsiteY0" fmla="*/ 0 h 7209878"/>
              <a:gd name="connsiteX1" fmla="*/ 24391144 w 24391144"/>
              <a:gd name="connsiteY1" fmla="*/ 0 h 7209878"/>
              <a:gd name="connsiteX2" fmla="*/ 24391144 w 24391144"/>
              <a:gd name="connsiteY2" fmla="*/ 2684864 h 7209878"/>
              <a:gd name="connsiteX3" fmla="*/ 18904266 w 24391144"/>
              <a:gd name="connsiteY3" fmla="*/ 4243564 h 7209878"/>
              <a:gd name="connsiteX4" fmla="*/ 9707901 w 24391144"/>
              <a:gd name="connsiteY4" fmla="*/ 4255351 h 7209878"/>
              <a:gd name="connsiteX5" fmla="*/ 6453491 w 24391144"/>
              <a:gd name="connsiteY5" fmla="*/ 6563041 h 7209878"/>
              <a:gd name="connsiteX6" fmla="*/ 0 w 24391144"/>
              <a:gd name="connsiteY6" fmla="*/ 5589032 h 7209878"/>
              <a:gd name="connsiteX0" fmla="*/ 2259 w 24391144"/>
              <a:gd name="connsiteY0" fmla="*/ 0 h 7209878"/>
              <a:gd name="connsiteX1" fmla="*/ 24391144 w 24391144"/>
              <a:gd name="connsiteY1" fmla="*/ 0 h 7209878"/>
              <a:gd name="connsiteX2" fmla="*/ 24391144 w 24391144"/>
              <a:gd name="connsiteY2" fmla="*/ 2684864 h 7209878"/>
              <a:gd name="connsiteX3" fmla="*/ 18904266 w 24391144"/>
              <a:gd name="connsiteY3" fmla="*/ 4243564 h 7209878"/>
              <a:gd name="connsiteX4" fmla="*/ 6453491 w 24391144"/>
              <a:gd name="connsiteY4" fmla="*/ 6563041 h 7209878"/>
              <a:gd name="connsiteX5" fmla="*/ 0 w 24391144"/>
              <a:gd name="connsiteY5" fmla="*/ 5589032 h 7209878"/>
              <a:gd name="connsiteX6" fmla="*/ 2259 w 24391144"/>
              <a:gd name="connsiteY6" fmla="*/ 0 h 7209878"/>
              <a:gd name="connsiteX0" fmla="*/ 2259 w 24391144"/>
              <a:gd name="connsiteY0" fmla="*/ 0 h 7209878"/>
              <a:gd name="connsiteX1" fmla="*/ 24391144 w 24391144"/>
              <a:gd name="connsiteY1" fmla="*/ 0 h 7209878"/>
              <a:gd name="connsiteX2" fmla="*/ 24391144 w 24391144"/>
              <a:gd name="connsiteY2" fmla="*/ 2684864 h 7209878"/>
              <a:gd name="connsiteX3" fmla="*/ 6453491 w 24391144"/>
              <a:gd name="connsiteY3" fmla="*/ 6563041 h 7209878"/>
              <a:gd name="connsiteX4" fmla="*/ 0 w 24391144"/>
              <a:gd name="connsiteY4" fmla="*/ 5589032 h 7209878"/>
              <a:gd name="connsiteX5" fmla="*/ 2259 w 24391144"/>
              <a:gd name="connsiteY5" fmla="*/ 0 h 7209878"/>
              <a:gd name="connsiteX0" fmla="*/ 2259 w 24391144"/>
              <a:gd name="connsiteY0" fmla="*/ 0 h 5643680"/>
              <a:gd name="connsiteX1" fmla="*/ 24391144 w 24391144"/>
              <a:gd name="connsiteY1" fmla="*/ 0 h 5643680"/>
              <a:gd name="connsiteX2" fmla="*/ 24391144 w 24391144"/>
              <a:gd name="connsiteY2" fmla="*/ 2684864 h 5643680"/>
              <a:gd name="connsiteX3" fmla="*/ 0 w 24391144"/>
              <a:gd name="connsiteY3" fmla="*/ 5589032 h 5643680"/>
              <a:gd name="connsiteX4" fmla="*/ 2259 w 24391144"/>
              <a:gd name="connsiteY4" fmla="*/ 0 h 5643680"/>
              <a:gd name="connsiteX0" fmla="*/ 2259 w 24391144"/>
              <a:gd name="connsiteY0" fmla="*/ 0 h 7709870"/>
              <a:gd name="connsiteX1" fmla="*/ 24391144 w 24391144"/>
              <a:gd name="connsiteY1" fmla="*/ 0 h 7709870"/>
              <a:gd name="connsiteX2" fmla="*/ 24391144 w 24391144"/>
              <a:gd name="connsiteY2" fmla="*/ 2684864 h 7709870"/>
              <a:gd name="connsiteX3" fmla="*/ 0 w 24391144"/>
              <a:gd name="connsiteY3" fmla="*/ 5589032 h 7709870"/>
              <a:gd name="connsiteX4" fmla="*/ 2259 w 24391144"/>
              <a:gd name="connsiteY4" fmla="*/ 0 h 7709870"/>
              <a:gd name="connsiteX0" fmla="*/ 2259 w 24391144"/>
              <a:gd name="connsiteY0" fmla="*/ 0 h 7530267"/>
              <a:gd name="connsiteX1" fmla="*/ 24391144 w 24391144"/>
              <a:gd name="connsiteY1" fmla="*/ 0 h 7530267"/>
              <a:gd name="connsiteX2" fmla="*/ 24391144 w 24391144"/>
              <a:gd name="connsiteY2" fmla="*/ 2684864 h 7530267"/>
              <a:gd name="connsiteX3" fmla="*/ 0 w 24391144"/>
              <a:gd name="connsiteY3" fmla="*/ 5589032 h 7530267"/>
              <a:gd name="connsiteX4" fmla="*/ 2259 w 24391144"/>
              <a:gd name="connsiteY4" fmla="*/ 0 h 7530267"/>
              <a:gd name="connsiteX0" fmla="*/ 2259 w 24391144"/>
              <a:gd name="connsiteY0" fmla="*/ 0 h 8272220"/>
              <a:gd name="connsiteX1" fmla="*/ 24391144 w 24391144"/>
              <a:gd name="connsiteY1" fmla="*/ 0 h 8272220"/>
              <a:gd name="connsiteX2" fmla="*/ 24391144 w 24391144"/>
              <a:gd name="connsiteY2" fmla="*/ 2684864 h 8272220"/>
              <a:gd name="connsiteX3" fmla="*/ 0 w 24391144"/>
              <a:gd name="connsiteY3" fmla="*/ 5589032 h 8272220"/>
              <a:gd name="connsiteX4" fmla="*/ 2259 w 24391144"/>
              <a:gd name="connsiteY4" fmla="*/ 0 h 8272220"/>
              <a:gd name="connsiteX0" fmla="*/ 2259 w 24391144"/>
              <a:gd name="connsiteY0" fmla="*/ 0 h 8525835"/>
              <a:gd name="connsiteX1" fmla="*/ 24391144 w 24391144"/>
              <a:gd name="connsiteY1" fmla="*/ 0 h 8525835"/>
              <a:gd name="connsiteX2" fmla="*/ 24391144 w 24391144"/>
              <a:gd name="connsiteY2" fmla="*/ 2684864 h 8525835"/>
              <a:gd name="connsiteX3" fmla="*/ 0 w 24391144"/>
              <a:gd name="connsiteY3" fmla="*/ 5589032 h 8525835"/>
              <a:gd name="connsiteX4" fmla="*/ 2259 w 24391144"/>
              <a:gd name="connsiteY4" fmla="*/ 0 h 8525835"/>
              <a:gd name="connsiteX0" fmla="*/ 2259 w 24391144"/>
              <a:gd name="connsiteY0" fmla="*/ 0 h 8610636"/>
              <a:gd name="connsiteX1" fmla="*/ 24391144 w 24391144"/>
              <a:gd name="connsiteY1" fmla="*/ 0 h 8610636"/>
              <a:gd name="connsiteX2" fmla="*/ 24391144 w 24391144"/>
              <a:gd name="connsiteY2" fmla="*/ 2684864 h 8610636"/>
              <a:gd name="connsiteX3" fmla="*/ 0 w 24391144"/>
              <a:gd name="connsiteY3" fmla="*/ 5589032 h 8610636"/>
              <a:gd name="connsiteX4" fmla="*/ 2259 w 24391144"/>
              <a:gd name="connsiteY4" fmla="*/ 0 h 8610636"/>
              <a:gd name="connsiteX0" fmla="*/ 2259 w 24391144"/>
              <a:gd name="connsiteY0" fmla="*/ 0 h 8034004"/>
              <a:gd name="connsiteX1" fmla="*/ 24391144 w 24391144"/>
              <a:gd name="connsiteY1" fmla="*/ 0 h 8034004"/>
              <a:gd name="connsiteX2" fmla="*/ 24391144 w 24391144"/>
              <a:gd name="connsiteY2" fmla="*/ 2684864 h 8034004"/>
              <a:gd name="connsiteX3" fmla="*/ 0 w 24391144"/>
              <a:gd name="connsiteY3" fmla="*/ 5589032 h 8034004"/>
              <a:gd name="connsiteX4" fmla="*/ 2259 w 24391144"/>
              <a:gd name="connsiteY4" fmla="*/ 0 h 8034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91144" h="8034004">
                <a:moveTo>
                  <a:pt x="2259" y="0"/>
                </a:moveTo>
                <a:lnTo>
                  <a:pt x="24391144" y="0"/>
                </a:lnTo>
                <a:lnTo>
                  <a:pt x="24391144" y="2684864"/>
                </a:lnTo>
                <a:cubicBezTo>
                  <a:pt x="11760687" y="2920499"/>
                  <a:pt x="10153097" y="12369661"/>
                  <a:pt x="0" y="5589032"/>
                </a:cubicBezTo>
                <a:lnTo>
                  <a:pt x="2259" y="0"/>
                </a:lnTo>
                <a:close/>
              </a:path>
            </a:pathLst>
          </a:custGeom>
          <a:solidFill>
            <a:schemeClr val="tx2"/>
          </a:solidFill>
          <a:effectLst>
            <a:outerShdw blurRad="127000" dist="38100" dir="5400000" algn="t" rotWithShape="0">
              <a:schemeClr val="tx2">
                <a:lumMod val="75000"/>
                <a:alpha val="50000"/>
              </a:schemeClr>
            </a:outerShdw>
          </a:effectLst>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sp>
        <p:nvSpPr>
          <p:cNvPr id="6" name="Title 1">
            <a:extLst>
              <a:ext uri="{FF2B5EF4-FFF2-40B4-BE49-F238E27FC236}">
                <a16:creationId xmlns:a16="http://schemas.microsoft.com/office/drawing/2014/main" id="{62591A4B-DA9E-ED40-9A95-C47C46F832FF}"/>
              </a:ext>
            </a:extLst>
          </p:cNvPr>
          <p:cNvSpPr>
            <a:spLocks noGrp="1"/>
          </p:cNvSpPr>
          <p:nvPr>
            <p:ph type="title" hasCustomPrompt="1"/>
          </p:nvPr>
        </p:nvSpPr>
        <p:spPr>
          <a:xfrm>
            <a:off x="6539498" y="3019031"/>
            <a:ext cx="5003002" cy="1325563"/>
          </a:xfrm>
          <a:prstGeom prst="rect">
            <a:avLst/>
          </a:prstGeom>
        </p:spPr>
        <p:txBody>
          <a:bodyPr anchor="b"/>
          <a:lstStyle>
            <a:lvl1pPr algn="r">
              <a:defRPr>
                <a:solidFill>
                  <a:schemeClr val="accent4"/>
                </a:solidFill>
              </a:defRPr>
            </a:lvl1pPr>
          </a:lstStyle>
          <a:p>
            <a:r>
              <a:rPr lang="en-US"/>
              <a:t>HEADLINE</a:t>
            </a:r>
          </a:p>
        </p:txBody>
      </p:sp>
      <p:sp>
        <p:nvSpPr>
          <p:cNvPr id="7" name="Text Placeholder 32">
            <a:extLst>
              <a:ext uri="{FF2B5EF4-FFF2-40B4-BE49-F238E27FC236}">
                <a16:creationId xmlns:a16="http://schemas.microsoft.com/office/drawing/2014/main" id="{BD097376-6F26-AF41-B3F4-846322FD7529}"/>
              </a:ext>
            </a:extLst>
          </p:cNvPr>
          <p:cNvSpPr>
            <a:spLocks noGrp="1"/>
          </p:cNvSpPr>
          <p:nvPr>
            <p:ph type="body" sz="quarter" idx="15" hasCustomPrompt="1"/>
          </p:nvPr>
        </p:nvSpPr>
        <p:spPr>
          <a:xfrm>
            <a:off x="694816" y="4344594"/>
            <a:ext cx="10847683" cy="1990892"/>
          </a:xfrm>
        </p:spPr>
        <p:txBody>
          <a:bodyPr anchor="t">
            <a:normAutofit/>
          </a:bodyPr>
          <a:lstStyle>
            <a:lvl1pPr>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8" name="Slide Number Placeholder 8">
            <a:extLst>
              <a:ext uri="{FF2B5EF4-FFF2-40B4-BE49-F238E27FC236}">
                <a16:creationId xmlns:a16="http://schemas.microsoft.com/office/drawing/2014/main" id="{06182133-DBD9-1D45-AF38-D6B146D10095}"/>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398977276"/>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Image + Headline &amp; Copy">
    <p:bg>
      <p:bgPr>
        <a:solidFill>
          <a:schemeClr val="bg2"/>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ED9BA7A1-525B-B74D-9C12-044BB72ACDDC}"/>
              </a:ext>
            </a:extLst>
          </p:cNvPr>
          <p:cNvSpPr>
            <a:spLocks/>
          </p:cNvSpPr>
          <p:nvPr/>
        </p:nvSpPr>
        <p:spPr bwMode="auto">
          <a:xfrm>
            <a:off x="5740400" y="-794"/>
            <a:ext cx="6023769" cy="6859588"/>
          </a:xfrm>
          <a:custGeom>
            <a:avLst/>
            <a:gdLst>
              <a:gd name="T0" fmla="*/ 6023968 w 21600"/>
              <a:gd name="T1" fmla="*/ 6859588 h 21600"/>
              <a:gd name="T2" fmla="*/ 6023968 w 21600"/>
              <a:gd name="T3" fmla="*/ 6859588 h 21600"/>
              <a:gd name="T4" fmla="*/ 6023968 w 21600"/>
              <a:gd name="T5" fmla="*/ 6859588 h 21600"/>
              <a:gd name="T6" fmla="*/ 6023968 w 21600"/>
              <a:gd name="T7" fmla="*/ 6859588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7573" y="0"/>
                </a:moveTo>
                <a:cubicBezTo>
                  <a:pt x="6055" y="591"/>
                  <a:pt x="4882" y="1781"/>
                  <a:pt x="4449" y="3304"/>
                </a:cubicBezTo>
                <a:cubicBezTo>
                  <a:pt x="3394" y="7016"/>
                  <a:pt x="7349" y="10114"/>
                  <a:pt x="7760" y="13809"/>
                </a:cubicBezTo>
                <a:cubicBezTo>
                  <a:pt x="8213" y="17889"/>
                  <a:pt x="4651" y="21452"/>
                  <a:pt x="0" y="21600"/>
                </a:cubicBezTo>
                <a:lnTo>
                  <a:pt x="21600" y="21595"/>
                </a:lnTo>
                <a:lnTo>
                  <a:pt x="21600" y="0"/>
                </a:lnTo>
                <a:lnTo>
                  <a:pt x="7573" y="0"/>
                </a:lnTo>
                <a:close/>
              </a:path>
            </a:pathLst>
          </a:custGeom>
          <a:solidFill>
            <a:schemeClr val="bg2"/>
          </a:solidFill>
          <a:ln>
            <a:noFill/>
          </a:ln>
          <a:effectLst>
            <a:outerShdw blurRad="190500" dist="38100" dir="10800000" algn="r" rotWithShape="0">
              <a:schemeClr val="tx2">
                <a:lumMod val="75000"/>
                <a:alpha val="25000"/>
              </a:schemeClr>
            </a:outerShdw>
          </a:effectLst>
        </p:spPr>
        <p:txBody>
          <a:bodyPr lIns="25400" tIns="25400" rIns="25400" bIns="25400" anchor="ctr"/>
          <a:lstStyle/>
          <a:p>
            <a:endParaRPr lang="en-US" sz="900" dirty="0"/>
          </a:p>
        </p:txBody>
      </p:sp>
      <p:sp>
        <p:nvSpPr>
          <p:cNvPr id="7" name="Picture Placeholder 6">
            <a:extLst>
              <a:ext uri="{FF2B5EF4-FFF2-40B4-BE49-F238E27FC236}">
                <a16:creationId xmlns:a16="http://schemas.microsoft.com/office/drawing/2014/main" id="{E5EFD73E-11CD-48E5-9FBC-34507EB80A5E}"/>
              </a:ext>
            </a:extLst>
          </p:cNvPr>
          <p:cNvSpPr>
            <a:spLocks noGrp="1"/>
          </p:cNvSpPr>
          <p:nvPr>
            <p:ph type="pic" idx="13"/>
          </p:nvPr>
        </p:nvSpPr>
        <p:spPr>
          <a:xfrm>
            <a:off x="6176566" y="-794"/>
            <a:ext cx="6021785" cy="6859588"/>
          </a:xfrm>
          <a:custGeom>
            <a:avLst/>
            <a:gdLst>
              <a:gd name="connsiteX0" fmla="*/ 5278223 w 12043569"/>
              <a:gd name="connsiteY0" fmla="*/ 0 h 13719176"/>
              <a:gd name="connsiteX1" fmla="*/ 12043569 w 12043569"/>
              <a:gd name="connsiteY1" fmla="*/ 0 h 13719176"/>
              <a:gd name="connsiteX2" fmla="*/ 12043569 w 12043569"/>
              <a:gd name="connsiteY2" fmla="*/ 13716001 h 13719176"/>
              <a:gd name="connsiteX3" fmla="*/ 0 w 12043569"/>
              <a:gd name="connsiteY3" fmla="*/ 13719176 h 13719176"/>
              <a:gd name="connsiteX4" fmla="*/ 4328332 w 12043569"/>
              <a:gd name="connsiteY4" fmla="*/ 8770745 h 13719176"/>
              <a:gd name="connsiteX5" fmla="*/ 3535734 w 12043569"/>
              <a:gd name="connsiteY5" fmla="*/ 2098526 h 13719176"/>
              <a:gd name="connsiteX6" fmla="*/ 5278223 w 12043569"/>
              <a:gd name="connsiteY6" fmla="*/ 0 h 1371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3569" h="13719176">
                <a:moveTo>
                  <a:pt x="5278223" y="0"/>
                </a:moveTo>
                <a:lnTo>
                  <a:pt x="12043569" y="0"/>
                </a:lnTo>
                <a:lnTo>
                  <a:pt x="12043569" y="13716001"/>
                </a:lnTo>
                <a:lnTo>
                  <a:pt x="0" y="13719176"/>
                </a:lnTo>
                <a:cubicBezTo>
                  <a:pt x="2445842" y="13335547"/>
                  <a:pt x="4273671" y="11254805"/>
                  <a:pt x="4328332" y="8770745"/>
                </a:cubicBezTo>
                <a:cubicBezTo>
                  <a:pt x="4378532" y="6493744"/>
                  <a:pt x="2819551" y="4305027"/>
                  <a:pt x="3535734" y="2098526"/>
                </a:cubicBezTo>
                <a:cubicBezTo>
                  <a:pt x="3840279" y="1161049"/>
                  <a:pt x="4473911" y="424278"/>
                  <a:pt x="5278223" y="0"/>
                </a:cubicBezTo>
                <a:close/>
              </a:path>
            </a:pathLst>
          </a:custGeom>
          <a:solidFill>
            <a:schemeClr val="tx2"/>
          </a:solidFill>
        </p:spPr>
        <p:txBody>
          <a:bodyPr lIns="91439" tIns="45719" rIns="91439" bIns="45719">
            <a:noAutofit/>
          </a:bodyPr>
          <a:lstStyle/>
          <a:p>
            <a:pPr lvl="0"/>
            <a:endParaRPr noProof="0" dirty="0">
              <a:sym typeface="Helvetica Neue Light"/>
            </a:endParaRPr>
          </a:p>
        </p:txBody>
      </p:sp>
      <p:sp>
        <p:nvSpPr>
          <p:cNvPr id="5" name="Text Placeholder 32">
            <a:extLst>
              <a:ext uri="{FF2B5EF4-FFF2-40B4-BE49-F238E27FC236}">
                <a16:creationId xmlns:a16="http://schemas.microsoft.com/office/drawing/2014/main" id="{00662CCE-8634-7849-8681-C745F218FD4A}"/>
              </a:ext>
            </a:extLst>
          </p:cNvPr>
          <p:cNvSpPr>
            <a:spLocks noGrp="1"/>
          </p:cNvSpPr>
          <p:nvPr>
            <p:ph type="body" sz="quarter" idx="12" hasCustomPrompt="1"/>
          </p:nvPr>
        </p:nvSpPr>
        <p:spPr>
          <a:xfrm>
            <a:off x="315000" y="544598"/>
            <a:ext cx="9438600" cy="702400"/>
          </a:xfrm>
        </p:spPr>
        <p:txBody>
          <a:bodyPr anchor="t">
            <a:normAutofit/>
          </a:bodyPr>
          <a:lstStyle>
            <a:lvl1pPr algn="l">
              <a:lnSpc>
                <a:spcPct val="100000"/>
              </a:lnSpc>
              <a:spcBef>
                <a:spcPts val="0"/>
              </a:spcBef>
              <a:spcAft>
                <a:spcPts val="600"/>
              </a:spcAft>
              <a:defRPr sz="40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8" name="Text Placeholder 32">
            <a:extLst>
              <a:ext uri="{FF2B5EF4-FFF2-40B4-BE49-F238E27FC236}">
                <a16:creationId xmlns:a16="http://schemas.microsoft.com/office/drawing/2014/main" id="{E48AEAC4-5765-6E4D-B457-F18D6A7D25F3}"/>
              </a:ext>
            </a:extLst>
          </p:cNvPr>
          <p:cNvSpPr>
            <a:spLocks noGrp="1"/>
          </p:cNvSpPr>
          <p:nvPr>
            <p:ph type="body" sz="quarter" idx="14" hasCustomPrompt="1"/>
          </p:nvPr>
        </p:nvSpPr>
        <p:spPr>
          <a:xfrm>
            <a:off x="315000" y="1157731"/>
            <a:ext cx="5412931" cy="2889833"/>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Tree>
    <p:extLst>
      <p:ext uri="{BB962C8B-B14F-4D97-AF65-F5344CB8AC3E}">
        <p14:creationId xmlns:p14="http://schemas.microsoft.com/office/powerpoint/2010/main" val="338685077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 Copy">
    <p:bg>
      <p:bgPr>
        <a:solidFill>
          <a:schemeClr val="tx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3B19C50B-84CA-464E-AFBD-20EB6F8B0410}"/>
              </a:ext>
            </a:extLst>
          </p:cNvPr>
          <p:cNvSpPr/>
          <p:nvPr userDrawn="1"/>
        </p:nvSpPr>
        <p:spPr>
          <a:xfrm rot="5400000" flipV="1">
            <a:off x="3261670" y="-2330130"/>
            <a:ext cx="5668658" cy="12201380"/>
          </a:xfrm>
          <a:custGeom>
            <a:avLst/>
            <a:gdLst>
              <a:gd name="connsiteX0" fmla="*/ 343 w 5505368"/>
              <a:gd name="connsiteY0" fmla="*/ 2856620 h 12201380"/>
              <a:gd name="connsiteX1" fmla="*/ 184970 w 5505368"/>
              <a:gd name="connsiteY1" fmla="*/ 12192002 h 12201380"/>
              <a:gd name="connsiteX2" fmla="*/ 1763774 w 5505368"/>
              <a:gd name="connsiteY2" fmla="*/ 12192002 h 12201380"/>
              <a:gd name="connsiteX3" fmla="*/ 1763774 w 5505368"/>
              <a:gd name="connsiteY3" fmla="*/ 12201380 h 12201380"/>
              <a:gd name="connsiteX4" fmla="*/ 5238870 w 5505368"/>
              <a:gd name="connsiteY4" fmla="*/ 12201380 h 12201380"/>
              <a:gd name="connsiteX5" fmla="*/ 5238870 w 5505368"/>
              <a:gd name="connsiteY5" fmla="*/ 9379 h 12201380"/>
              <a:gd name="connsiteX6" fmla="*/ 2596949 w 5505368"/>
              <a:gd name="connsiteY6" fmla="*/ 9379 h 12201380"/>
              <a:gd name="connsiteX7" fmla="*/ 2596949 w 5505368"/>
              <a:gd name="connsiteY7" fmla="*/ 0 h 12201380"/>
              <a:gd name="connsiteX8" fmla="*/ 184970 w 5505368"/>
              <a:gd name="connsiteY8" fmla="*/ 0 h 12201380"/>
              <a:gd name="connsiteX9" fmla="*/ 343 w 5505368"/>
              <a:gd name="connsiteY9" fmla="*/ 2856620 h 122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5368" h="12201380">
                <a:moveTo>
                  <a:pt x="343" y="2856620"/>
                </a:moveTo>
                <a:cubicBezTo>
                  <a:pt x="-13153" y="5808983"/>
                  <a:pt x="377153" y="9016623"/>
                  <a:pt x="184970" y="12192002"/>
                </a:cubicBezTo>
                <a:lnTo>
                  <a:pt x="1763774" y="12192002"/>
                </a:lnTo>
                <a:lnTo>
                  <a:pt x="1763774" y="12201380"/>
                </a:lnTo>
                <a:lnTo>
                  <a:pt x="5238870" y="12201380"/>
                </a:lnTo>
                <a:cubicBezTo>
                  <a:pt x="4869682" y="7967542"/>
                  <a:pt x="5992461" y="3676350"/>
                  <a:pt x="5238870" y="9379"/>
                </a:cubicBezTo>
                <a:lnTo>
                  <a:pt x="2596949" y="9379"/>
                </a:lnTo>
                <a:lnTo>
                  <a:pt x="2596949" y="0"/>
                </a:lnTo>
                <a:lnTo>
                  <a:pt x="184970" y="0"/>
                </a:lnTo>
                <a:cubicBezTo>
                  <a:pt x="54208" y="916743"/>
                  <a:pt x="4842" y="1872500"/>
                  <a:pt x="343" y="2856620"/>
                </a:cubicBezTo>
                <a:close/>
              </a:path>
            </a:pathLst>
          </a:custGeom>
          <a:solidFill>
            <a:schemeClr val="bg2"/>
          </a:solidFill>
          <a:ln>
            <a:noFill/>
          </a:ln>
          <a:effectLst>
            <a:outerShdw blurRad="127000" dist="381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dirty="0">
              <a:latin typeface="Myriad Pro" panose="020B0503030403020204" pitchFamily="34" charset="0"/>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15" name="Text Placeholder 32">
            <a:extLst>
              <a:ext uri="{FF2B5EF4-FFF2-40B4-BE49-F238E27FC236}">
                <a16:creationId xmlns:a16="http://schemas.microsoft.com/office/drawing/2014/main" id="{95C7CA90-12F9-7C4B-A2D7-BEB7F04951E3}"/>
              </a:ext>
            </a:extLst>
          </p:cNvPr>
          <p:cNvSpPr>
            <a:spLocks noGrp="1"/>
          </p:cNvSpPr>
          <p:nvPr>
            <p:ph type="body" sz="quarter" idx="11" hasCustomPrompt="1"/>
          </p:nvPr>
        </p:nvSpPr>
        <p:spPr>
          <a:xfrm>
            <a:off x="335971" y="1309177"/>
            <a:ext cx="11475029" cy="538993"/>
          </a:xfrm>
        </p:spPr>
        <p:txBody>
          <a:bodyPr anchor="t"/>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16" name="Text Placeholder 32">
            <a:extLst>
              <a:ext uri="{FF2B5EF4-FFF2-40B4-BE49-F238E27FC236}">
                <a16:creationId xmlns:a16="http://schemas.microsoft.com/office/drawing/2014/main" id="{05B46DAD-AB70-E84A-A775-3E5BA005F695}"/>
              </a:ext>
            </a:extLst>
          </p:cNvPr>
          <p:cNvSpPr>
            <a:spLocks noGrp="1"/>
          </p:cNvSpPr>
          <p:nvPr>
            <p:ph type="body" sz="quarter" idx="13" hasCustomPrompt="1"/>
          </p:nvPr>
        </p:nvSpPr>
        <p:spPr>
          <a:xfrm>
            <a:off x="348850" y="1848170"/>
            <a:ext cx="11462150" cy="4487841"/>
          </a:xfrm>
        </p:spPr>
        <p:txBody>
          <a:bodyPr anchor="t">
            <a:normAutofit/>
          </a:bodyPr>
          <a:lstStyle>
            <a:lvl1pPr>
              <a:lnSpc>
                <a:spcPct val="100000"/>
              </a:lnSpc>
              <a:spcBef>
                <a:spcPts val="0"/>
              </a:spcBef>
              <a:spcAft>
                <a:spcPts val="600"/>
              </a:spcAft>
              <a:defRPr sz="18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18" name="Title 1">
            <a:extLst>
              <a:ext uri="{FF2B5EF4-FFF2-40B4-BE49-F238E27FC236}">
                <a16:creationId xmlns:a16="http://schemas.microsoft.com/office/drawing/2014/main" id="{3D30EB47-6EF6-F242-B20E-83B93699600F}"/>
              </a:ext>
            </a:extLst>
          </p:cNvPr>
          <p:cNvSpPr>
            <a:spLocks noGrp="1"/>
          </p:cNvSpPr>
          <p:nvPr>
            <p:ph type="title" hasCustomPrompt="1"/>
          </p:nvPr>
        </p:nvSpPr>
        <p:spPr>
          <a:xfrm>
            <a:off x="335971" y="253111"/>
            <a:ext cx="9912929" cy="807063"/>
          </a:xfrm>
        </p:spPr>
        <p:txBody>
          <a:bodyPr anchor="t"/>
          <a:lstStyle>
            <a:lvl1pPr>
              <a:spcAft>
                <a:spcPts val="600"/>
              </a:spcAft>
              <a:defRPr>
                <a:solidFill>
                  <a:schemeClr val="accent4"/>
                </a:solidFill>
              </a:defRPr>
            </a:lvl1pPr>
          </a:lstStyle>
          <a:p>
            <a:r>
              <a:rPr lang="en-US"/>
              <a:t>HEADLINE</a:t>
            </a:r>
          </a:p>
        </p:txBody>
      </p:sp>
    </p:spTree>
    <p:extLst>
      <p:ext uri="{BB962C8B-B14F-4D97-AF65-F5344CB8AC3E}">
        <p14:creationId xmlns:p14="http://schemas.microsoft.com/office/powerpoint/2010/main" val="356477037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32B6-779E-E549-A313-52D9BA7C13D1}"/>
              </a:ext>
            </a:extLst>
          </p:cNvPr>
          <p:cNvSpPr>
            <a:spLocks noGrp="1"/>
          </p:cNvSpPr>
          <p:nvPr>
            <p:ph type="title" hasCustomPrompt="1"/>
          </p:nvPr>
        </p:nvSpPr>
        <p:spPr>
          <a:xfrm>
            <a:off x="335971" y="253111"/>
            <a:ext cx="9747829" cy="1325563"/>
          </a:xfrm>
          <a:prstGeom prst="rect">
            <a:avLst/>
          </a:prstGeom>
        </p:spPr>
        <p:txBody>
          <a:bodyPr anchor="t"/>
          <a:lstStyle>
            <a:lvl1pPr>
              <a:defRPr>
                <a:solidFill>
                  <a:schemeClr val="accent4"/>
                </a:solidFill>
              </a:defRPr>
            </a:lvl1pPr>
          </a:lstStyle>
          <a:p>
            <a:r>
              <a:rPr lang="en-US"/>
              <a:t>HEADLINE</a:t>
            </a:r>
          </a:p>
        </p:txBody>
      </p:sp>
      <p:sp>
        <p:nvSpPr>
          <p:cNvPr id="7" name="Slide Number Placeholder 8">
            <a:extLst>
              <a:ext uri="{FF2B5EF4-FFF2-40B4-BE49-F238E27FC236}">
                <a16:creationId xmlns:a16="http://schemas.microsoft.com/office/drawing/2014/main" id="{41B58984-9997-494D-96CE-26F8BF8854EB}"/>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408226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8">
            <a:extLst>
              <a:ext uri="{FF2B5EF4-FFF2-40B4-BE49-F238E27FC236}">
                <a16:creationId xmlns:a16="http://schemas.microsoft.com/office/drawing/2014/main" id="{4F1962F0-705B-8240-85D5-40A5B5B304B3}"/>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727117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252160"/>
                </a:solidFill>
                <a:latin typeface="Segoe UI"/>
                <a:cs typeface="Segoe UI"/>
              </a:defRPr>
            </a:lvl1pPr>
          </a:lstStyle>
          <a:p>
            <a:endParaRPr/>
          </a:p>
        </p:txBody>
      </p:sp>
      <p:sp>
        <p:nvSpPr>
          <p:cNvPr id="3" name="Holder 3"/>
          <p:cNvSpPr>
            <a:spLocks noGrp="1"/>
          </p:cNvSpPr>
          <p:nvPr>
            <p:ph sz="half" idx="2"/>
          </p:nvPr>
        </p:nvSpPr>
        <p:spPr>
          <a:xfrm>
            <a:off x="1826767" y="2609850"/>
            <a:ext cx="2635885" cy="3501390"/>
          </a:xfrm>
          <a:prstGeom prst="rect">
            <a:avLst/>
          </a:prstGeom>
        </p:spPr>
        <p:txBody>
          <a:bodyPr wrap="square" lIns="0" tIns="0" rIns="0" bIns="0">
            <a:spAutoFit/>
          </a:bodyPr>
          <a:lstStyle>
            <a:lvl1pPr>
              <a:defRPr sz="1200" b="1" i="0">
                <a:solidFill>
                  <a:schemeClr val="tx1"/>
                </a:solidFill>
                <a:latin typeface="Verdana"/>
                <a:cs typeface="Verdana"/>
              </a:defRPr>
            </a:lvl1pPr>
          </a:lstStyle>
          <a:p>
            <a:endParaRPr/>
          </a:p>
        </p:txBody>
      </p:sp>
      <p:sp>
        <p:nvSpPr>
          <p:cNvPr id="4" name="Holder 4"/>
          <p:cNvSpPr>
            <a:spLocks noGrp="1"/>
          </p:cNvSpPr>
          <p:nvPr>
            <p:ph sz="half" idx="3"/>
          </p:nvPr>
        </p:nvSpPr>
        <p:spPr>
          <a:xfrm>
            <a:off x="7498842" y="2609850"/>
            <a:ext cx="2620009" cy="3867150"/>
          </a:xfrm>
          <a:prstGeom prst="rect">
            <a:avLst/>
          </a:prstGeom>
        </p:spPr>
        <p:txBody>
          <a:bodyPr wrap="square" lIns="0" tIns="0" rIns="0" bIns="0">
            <a:spAutoFit/>
          </a:bodyPr>
          <a:lstStyle>
            <a:lvl1pPr>
              <a:defRPr sz="1200" b="0" i="0">
                <a:solidFill>
                  <a:schemeClr val="tx1"/>
                </a:solidFill>
                <a:latin typeface="Verdana"/>
                <a:cs typeface="Verdana"/>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3B19C50B-84CA-464E-AFBD-20EB6F8B0410}"/>
              </a:ext>
            </a:extLst>
          </p:cNvPr>
          <p:cNvSpPr/>
          <p:nvPr userDrawn="1"/>
        </p:nvSpPr>
        <p:spPr>
          <a:xfrm rot="5400000" flipV="1">
            <a:off x="3261670" y="-2578669"/>
            <a:ext cx="5668658" cy="12201380"/>
          </a:xfrm>
          <a:custGeom>
            <a:avLst/>
            <a:gdLst>
              <a:gd name="connsiteX0" fmla="*/ 343 w 5505368"/>
              <a:gd name="connsiteY0" fmla="*/ 2856620 h 12201380"/>
              <a:gd name="connsiteX1" fmla="*/ 184970 w 5505368"/>
              <a:gd name="connsiteY1" fmla="*/ 12192002 h 12201380"/>
              <a:gd name="connsiteX2" fmla="*/ 1763774 w 5505368"/>
              <a:gd name="connsiteY2" fmla="*/ 12192002 h 12201380"/>
              <a:gd name="connsiteX3" fmla="*/ 1763774 w 5505368"/>
              <a:gd name="connsiteY3" fmla="*/ 12201380 h 12201380"/>
              <a:gd name="connsiteX4" fmla="*/ 5238870 w 5505368"/>
              <a:gd name="connsiteY4" fmla="*/ 12201380 h 12201380"/>
              <a:gd name="connsiteX5" fmla="*/ 5238870 w 5505368"/>
              <a:gd name="connsiteY5" fmla="*/ 9379 h 12201380"/>
              <a:gd name="connsiteX6" fmla="*/ 2596949 w 5505368"/>
              <a:gd name="connsiteY6" fmla="*/ 9379 h 12201380"/>
              <a:gd name="connsiteX7" fmla="*/ 2596949 w 5505368"/>
              <a:gd name="connsiteY7" fmla="*/ 0 h 12201380"/>
              <a:gd name="connsiteX8" fmla="*/ 184970 w 5505368"/>
              <a:gd name="connsiteY8" fmla="*/ 0 h 12201380"/>
              <a:gd name="connsiteX9" fmla="*/ 343 w 5505368"/>
              <a:gd name="connsiteY9" fmla="*/ 2856620 h 122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5368" h="12201380">
                <a:moveTo>
                  <a:pt x="343" y="2856620"/>
                </a:moveTo>
                <a:cubicBezTo>
                  <a:pt x="-13153" y="5808983"/>
                  <a:pt x="377153" y="9016623"/>
                  <a:pt x="184970" y="12192002"/>
                </a:cubicBezTo>
                <a:lnTo>
                  <a:pt x="1763774" y="12192002"/>
                </a:lnTo>
                <a:lnTo>
                  <a:pt x="1763774" y="12201380"/>
                </a:lnTo>
                <a:lnTo>
                  <a:pt x="5238870" y="12201380"/>
                </a:lnTo>
                <a:cubicBezTo>
                  <a:pt x="4869682" y="7967542"/>
                  <a:pt x="5992461" y="3676350"/>
                  <a:pt x="5238870" y="9379"/>
                </a:cubicBezTo>
                <a:lnTo>
                  <a:pt x="2596949" y="9379"/>
                </a:lnTo>
                <a:lnTo>
                  <a:pt x="2596949" y="0"/>
                </a:lnTo>
                <a:lnTo>
                  <a:pt x="184970" y="0"/>
                </a:lnTo>
                <a:cubicBezTo>
                  <a:pt x="54208" y="916743"/>
                  <a:pt x="4842" y="1872500"/>
                  <a:pt x="343" y="2856620"/>
                </a:cubicBezTo>
                <a:close/>
              </a:path>
            </a:pathLst>
          </a:custGeom>
          <a:solidFill>
            <a:schemeClr val="bg2"/>
          </a:solidFill>
          <a:ln>
            <a:noFill/>
          </a:ln>
          <a:effectLst>
            <a:outerShdw blurRad="127000" dist="381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dirty="0">
              <a:latin typeface="Myriad Pro" panose="020B0503030403020204" pitchFamily="34" charset="0"/>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2420113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6" name="Oval 1">
            <a:extLst>
              <a:ext uri="{FF2B5EF4-FFF2-40B4-BE49-F238E27FC236}">
                <a16:creationId xmlns:a16="http://schemas.microsoft.com/office/drawing/2014/main" id="{E0C0CF0E-388E-C649-B18B-7EDEAACCCB7A}"/>
              </a:ext>
            </a:extLst>
          </p:cNvPr>
          <p:cNvSpPr/>
          <p:nvPr userDrawn="1"/>
        </p:nvSpPr>
        <p:spPr>
          <a:xfrm>
            <a:off x="2336775" y="337580"/>
            <a:ext cx="7518446" cy="6182840"/>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bg2"/>
          </a:solidFill>
          <a:ln>
            <a:noFill/>
          </a:ln>
          <a:effectLst>
            <a:outerShdw blurRad="127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4695690"/>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6" name="Oval 1">
            <a:extLst>
              <a:ext uri="{FF2B5EF4-FFF2-40B4-BE49-F238E27FC236}">
                <a16:creationId xmlns:a16="http://schemas.microsoft.com/office/drawing/2014/main" id="{E0C0CF0E-388E-C649-B18B-7EDEAACCCB7A}"/>
              </a:ext>
            </a:extLst>
          </p:cNvPr>
          <p:cNvSpPr/>
          <p:nvPr userDrawn="1"/>
        </p:nvSpPr>
        <p:spPr>
          <a:xfrm>
            <a:off x="2336775" y="337580"/>
            <a:ext cx="7518446" cy="6182840"/>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tx2"/>
          </a:solidFill>
          <a:ln>
            <a:noFill/>
          </a:ln>
          <a:effectLst>
            <a:outerShdw blurRad="1905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730708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7" name="Freeform 6">
            <a:extLst>
              <a:ext uri="{FF2B5EF4-FFF2-40B4-BE49-F238E27FC236}">
                <a16:creationId xmlns:a16="http://schemas.microsoft.com/office/drawing/2014/main" id="{26ECB5F2-9BB0-2E4E-87A3-FAFD0DE1D09C}"/>
              </a:ext>
            </a:extLst>
          </p:cNvPr>
          <p:cNvSpPr/>
          <p:nvPr userDrawn="1"/>
        </p:nvSpPr>
        <p:spPr>
          <a:xfrm rot="5400000">
            <a:off x="6753682" y="-1215337"/>
            <a:ext cx="4222981" cy="6653655"/>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3655">
                <a:moveTo>
                  <a:pt x="0" y="6641969"/>
                </a:moveTo>
                <a:lnTo>
                  <a:pt x="0" y="0"/>
                </a:lnTo>
                <a:lnTo>
                  <a:pt x="4222981" y="0"/>
                </a:lnTo>
                <a:lnTo>
                  <a:pt x="4222587" y="2489"/>
                </a:lnTo>
                <a:cubicBezTo>
                  <a:pt x="4111473" y="121505"/>
                  <a:pt x="1505636" y="642868"/>
                  <a:pt x="1157575" y="2441411"/>
                </a:cubicBezTo>
                <a:cubicBezTo>
                  <a:pt x="770840" y="4439792"/>
                  <a:pt x="327713" y="6695074"/>
                  <a:pt x="27461" y="6653078"/>
                </a:cubicBezTo>
                <a:lnTo>
                  <a:pt x="0" y="6641969"/>
                </a:ln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7">
            <a:extLst>
              <a:ext uri="{FF2B5EF4-FFF2-40B4-BE49-F238E27FC236}">
                <a16:creationId xmlns:a16="http://schemas.microsoft.com/office/drawing/2014/main" id="{272092CE-C3FA-CE43-A989-0E9BEE9F811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1" name="Freeform 10">
            <a:extLst>
              <a:ext uri="{FF2B5EF4-FFF2-40B4-BE49-F238E27FC236}">
                <a16:creationId xmlns:a16="http://schemas.microsoft.com/office/drawing/2014/main" id="{D6689754-BACC-8B47-94E6-79A58B537801}"/>
              </a:ext>
            </a:extLst>
          </p:cNvPr>
          <p:cNvSpPr/>
          <p:nvPr userDrawn="1"/>
        </p:nvSpPr>
        <p:spPr>
          <a:xfrm rot="16200000">
            <a:off x="1670795" y="3027327"/>
            <a:ext cx="2159876" cy="5501467"/>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472886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736"/>
              <a:gd name="connsiteX1" fmla="*/ 0 w 4222981"/>
              <a:gd name="connsiteY1" fmla="*/ 0 h 6653736"/>
              <a:gd name="connsiteX2" fmla="*/ 4222981 w 4222981"/>
              <a:gd name="connsiteY2" fmla="*/ 0 h 6653736"/>
              <a:gd name="connsiteX3" fmla="*/ 4222587 w 4222981"/>
              <a:gd name="connsiteY3" fmla="*/ 2489 h 6653736"/>
              <a:gd name="connsiteX4" fmla="*/ 1472886 w 4222981"/>
              <a:gd name="connsiteY4" fmla="*/ 2441411 h 6653736"/>
              <a:gd name="connsiteX5" fmla="*/ 27461 w 4222981"/>
              <a:gd name="connsiteY5" fmla="*/ 6653078 h 6653736"/>
              <a:gd name="connsiteX6" fmla="*/ 0 w 4222981"/>
              <a:gd name="connsiteY6" fmla="*/ 6641969 h 6653736"/>
              <a:gd name="connsiteX0" fmla="*/ 0 w 4222981"/>
              <a:gd name="connsiteY0" fmla="*/ 6641969 h 6653752"/>
              <a:gd name="connsiteX1" fmla="*/ 0 w 4222981"/>
              <a:gd name="connsiteY1" fmla="*/ 0 h 6653752"/>
              <a:gd name="connsiteX2" fmla="*/ 4222981 w 4222981"/>
              <a:gd name="connsiteY2" fmla="*/ 0 h 6653752"/>
              <a:gd name="connsiteX3" fmla="*/ 4222587 w 4222981"/>
              <a:gd name="connsiteY3" fmla="*/ 2489 h 6653752"/>
              <a:gd name="connsiteX4" fmla="*/ 731907 w 4222981"/>
              <a:gd name="connsiteY4" fmla="*/ 2488711 h 6653752"/>
              <a:gd name="connsiteX5" fmla="*/ 27461 w 4222981"/>
              <a:gd name="connsiteY5" fmla="*/ 6653078 h 6653752"/>
              <a:gd name="connsiteX6" fmla="*/ 0 w 4222981"/>
              <a:gd name="connsiteY6" fmla="*/ 6641969 h 6653752"/>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764"/>
              <a:gd name="connsiteX1" fmla="*/ 0 w 4222981"/>
              <a:gd name="connsiteY1" fmla="*/ 0 h 6653764"/>
              <a:gd name="connsiteX2" fmla="*/ 4222981 w 4222981"/>
              <a:gd name="connsiteY2" fmla="*/ 0 h 6653764"/>
              <a:gd name="connsiteX3" fmla="*/ 4222587 w 4222981"/>
              <a:gd name="connsiteY3" fmla="*/ 2489 h 6653764"/>
              <a:gd name="connsiteX4" fmla="*/ 1851255 w 4222981"/>
              <a:gd name="connsiteY4" fmla="*/ 2819790 h 6653764"/>
              <a:gd name="connsiteX5" fmla="*/ 27461 w 4222981"/>
              <a:gd name="connsiteY5" fmla="*/ 6653078 h 6653764"/>
              <a:gd name="connsiteX6" fmla="*/ 0 w 4222981"/>
              <a:gd name="connsiteY6" fmla="*/ 6641969 h 6653764"/>
              <a:gd name="connsiteX0" fmla="*/ 0 w 4299406"/>
              <a:gd name="connsiteY0" fmla="*/ 6641969 h 6656543"/>
              <a:gd name="connsiteX1" fmla="*/ 0 w 4299406"/>
              <a:gd name="connsiteY1" fmla="*/ 0 h 6656543"/>
              <a:gd name="connsiteX2" fmla="*/ 4222981 w 4299406"/>
              <a:gd name="connsiteY2" fmla="*/ 0 h 6656543"/>
              <a:gd name="connsiteX3" fmla="*/ 4222587 w 4299406"/>
              <a:gd name="connsiteY3" fmla="*/ 2489 h 6656543"/>
              <a:gd name="connsiteX4" fmla="*/ 3569697 w 4299406"/>
              <a:gd name="connsiteY4" fmla="*/ 4396345 h 6656543"/>
              <a:gd name="connsiteX5" fmla="*/ 27461 w 4299406"/>
              <a:gd name="connsiteY5" fmla="*/ 6653078 h 6656543"/>
              <a:gd name="connsiteX6" fmla="*/ 0 w 4299406"/>
              <a:gd name="connsiteY6" fmla="*/ 6641969 h 6656543"/>
              <a:gd name="connsiteX0" fmla="*/ 0 w 4657712"/>
              <a:gd name="connsiteY0" fmla="*/ 6641969 h 6654473"/>
              <a:gd name="connsiteX1" fmla="*/ 0 w 4657712"/>
              <a:gd name="connsiteY1" fmla="*/ 0 h 6654473"/>
              <a:gd name="connsiteX2" fmla="*/ 4222981 w 4657712"/>
              <a:gd name="connsiteY2" fmla="*/ 0 h 6654473"/>
              <a:gd name="connsiteX3" fmla="*/ 4222587 w 4657712"/>
              <a:gd name="connsiteY3" fmla="*/ 2489 h 6654473"/>
              <a:gd name="connsiteX4" fmla="*/ 3569697 w 4657712"/>
              <a:gd name="connsiteY4" fmla="*/ 4396345 h 6654473"/>
              <a:gd name="connsiteX5" fmla="*/ 27461 w 4657712"/>
              <a:gd name="connsiteY5" fmla="*/ 6653078 h 6654473"/>
              <a:gd name="connsiteX6" fmla="*/ 0 w 4657712"/>
              <a:gd name="connsiteY6" fmla="*/ 6641969 h 6654473"/>
              <a:gd name="connsiteX0" fmla="*/ 0 w 4222981"/>
              <a:gd name="connsiteY0" fmla="*/ 6641969 h 6698646"/>
              <a:gd name="connsiteX1" fmla="*/ 0 w 4222981"/>
              <a:gd name="connsiteY1" fmla="*/ 0 h 6698646"/>
              <a:gd name="connsiteX2" fmla="*/ 4222981 w 4222981"/>
              <a:gd name="connsiteY2" fmla="*/ 0 h 6698646"/>
              <a:gd name="connsiteX3" fmla="*/ 4222587 w 4222981"/>
              <a:gd name="connsiteY3" fmla="*/ 2489 h 6698646"/>
              <a:gd name="connsiteX4" fmla="*/ 3569697 w 4222981"/>
              <a:gd name="connsiteY4" fmla="*/ 4396345 h 6698646"/>
              <a:gd name="connsiteX5" fmla="*/ 27461 w 4222981"/>
              <a:gd name="connsiteY5" fmla="*/ 6653078 h 6698646"/>
              <a:gd name="connsiteX6" fmla="*/ 0 w 4222981"/>
              <a:gd name="connsiteY6" fmla="*/ 6641969 h 6698646"/>
              <a:gd name="connsiteX0" fmla="*/ 0 w 4222981"/>
              <a:gd name="connsiteY0" fmla="*/ 6641969 h 6655394"/>
              <a:gd name="connsiteX1" fmla="*/ 0 w 4222981"/>
              <a:gd name="connsiteY1" fmla="*/ 0 h 6655394"/>
              <a:gd name="connsiteX2" fmla="*/ 4222981 w 4222981"/>
              <a:gd name="connsiteY2" fmla="*/ 0 h 6655394"/>
              <a:gd name="connsiteX3" fmla="*/ 4222587 w 4222981"/>
              <a:gd name="connsiteY3" fmla="*/ 2489 h 6655394"/>
              <a:gd name="connsiteX4" fmla="*/ 3014847 w 4222981"/>
              <a:gd name="connsiteY4" fmla="*/ 3481060 h 6655394"/>
              <a:gd name="connsiteX5" fmla="*/ 27461 w 4222981"/>
              <a:gd name="connsiteY5" fmla="*/ 6653078 h 6655394"/>
              <a:gd name="connsiteX6" fmla="*/ 0 w 4222981"/>
              <a:gd name="connsiteY6" fmla="*/ 6641969 h 6655394"/>
              <a:gd name="connsiteX0" fmla="*/ 0 w 4222981"/>
              <a:gd name="connsiteY0" fmla="*/ 6641969 h 6654237"/>
              <a:gd name="connsiteX1" fmla="*/ 0 w 4222981"/>
              <a:gd name="connsiteY1" fmla="*/ 0 h 6654237"/>
              <a:gd name="connsiteX2" fmla="*/ 4222981 w 4222981"/>
              <a:gd name="connsiteY2" fmla="*/ 0 h 6654237"/>
              <a:gd name="connsiteX3" fmla="*/ 4222587 w 4222981"/>
              <a:gd name="connsiteY3" fmla="*/ 2489 h 6654237"/>
              <a:gd name="connsiteX4" fmla="*/ 3014847 w 4222981"/>
              <a:gd name="connsiteY4" fmla="*/ 3481060 h 6654237"/>
              <a:gd name="connsiteX5" fmla="*/ 27461 w 4222981"/>
              <a:gd name="connsiteY5" fmla="*/ 6653078 h 6654237"/>
              <a:gd name="connsiteX6" fmla="*/ 0 w 4222981"/>
              <a:gd name="connsiteY6" fmla="*/ 6641969 h 6654237"/>
              <a:gd name="connsiteX0" fmla="*/ 0 w 4222981"/>
              <a:gd name="connsiteY0" fmla="*/ 6641969 h 6654045"/>
              <a:gd name="connsiteX1" fmla="*/ 0 w 4222981"/>
              <a:gd name="connsiteY1" fmla="*/ 0 h 6654045"/>
              <a:gd name="connsiteX2" fmla="*/ 4222981 w 4222981"/>
              <a:gd name="connsiteY2" fmla="*/ 0 h 6654045"/>
              <a:gd name="connsiteX3" fmla="*/ 4222587 w 4222981"/>
              <a:gd name="connsiteY3" fmla="*/ 2489 h 6654045"/>
              <a:gd name="connsiteX4" fmla="*/ 3014847 w 4222981"/>
              <a:gd name="connsiteY4" fmla="*/ 3481060 h 6654045"/>
              <a:gd name="connsiteX5" fmla="*/ 27461 w 4222981"/>
              <a:gd name="connsiteY5" fmla="*/ 6653078 h 6654045"/>
              <a:gd name="connsiteX6" fmla="*/ 0 w 4222981"/>
              <a:gd name="connsiteY6" fmla="*/ 6641969 h 665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4045">
                <a:moveTo>
                  <a:pt x="0" y="6641969"/>
                </a:moveTo>
                <a:lnTo>
                  <a:pt x="0" y="0"/>
                </a:lnTo>
                <a:lnTo>
                  <a:pt x="4222981" y="0"/>
                </a:lnTo>
                <a:cubicBezTo>
                  <a:pt x="4222850" y="830"/>
                  <a:pt x="4222718" y="1659"/>
                  <a:pt x="4222587" y="2489"/>
                </a:cubicBezTo>
                <a:cubicBezTo>
                  <a:pt x="4111473" y="121505"/>
                  <a:pt x="2662883" y="1226085"/>
                  <a:pt x="3014847" y="3481060"/>
                </a:cubicBezTo>
                <a:cubicBezTo>
                  <a:pt x="3309079" y="5366158"/>
                  <a:pt x="327713" y="6695074"/>
                  <a:pt x="27461" y="6653078"/>
                </a:cubicBezTo>
                <a:lnTo>
                  <a:pt x="0" y="6641969"/>
                </a:ln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31267618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12" name="Freeform 11">
            <a:extLst>
              <a:ext uri="{FF2B5EF4-FFF2-40B4-BE49-F238E27FC236}">
                <a16:creationId xmlns:a16="http://schemas.microsoft.com/office/drawing/2014/main" id="{21876505-A50F-2445-83D4-A41564D89C2F}"/>
              </a:ext>
            </a:extLst>
          </p:cNvPr>
          <p:cNvSpPr/>
          <p:nvPr userDrawn="1"/>
        </p:nvSpPr>
        <p:spPr>
          <a:xfrm rot="5400000">
            <a:off x="6759525" y="-120949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35272 w 4222981"/>
              <a:gd name="connsiteY4" fmla="*/ 1694280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889945 w 4222981"/>
              <a:gd name="connsiteY4" fmla="*/ 1928456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627162" y="461320"/>
                  <a:pt x="889945" y="1928456"/>
                </a:cubicBezTo>
                <a:cubicBezTo>
                  <a:pt x="152728" y="3395592"/>
                  <a:pt x="3358" y="6636279"/>
                  <a:pt x="0" y="6641969"/>
                </a:cubicBez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12">
            <a:extLst>
              <a:ext uri="{FF2B5EF4-FFF2-40B4-BE49-F238E27FC236}">
                <a16:creationId xmlns:a16="http://schemas.microsoft.com/office/drawing/2014/main" id="{2D4C16B1-6A35-E948-B1D0-5F2752C8677B}"/>
              </a:ext>
            </a:extLst>
          </p:cNvPr>
          <p:cNvSpPr/>
          <p:nvPr userDrawn="1"/>
        </p:nvSpPr>
        <p:spPr>
          <a:xfrm rot="16200000">
            <a:off x="1209493" y="142552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090668 w 4222981"/>
              <a:gd name="connsiteY4" fmla="*/ 1895002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995154" y="327505"/>
                  <a:pt x="1090668" y="1895002"/>
                </a:cubicBezTo>
                <a:cubicBezTo>
                  <a:pt x="186182" y="3462499"/>
                  <a:pt x="3358" y="6636279"/>
                  <a:pt x="0" y="6641969"/>
                </a:cubicBez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5" name="Picture 14">
            <a:extLst>
              <a:ext uri="{FF2B5EF4-FFF2-40B4-BE49-F238E27FC236}">
                <a16:creationId xmlns:a16="http://schemas.microsoft.com/office/drawing/2014/main" id="{F69E40D1-555B-2B47-8F7B-80AFF38536B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Tree>
    <p:extLst>
      <p:ext uri="{BB962C8B-B14F-4D97-AF65-F5344CB8AC3E}">
        <p14:creationId xmlns:p14="http://schemas.microsoft.com/office/powerpoint/2010/main" val="3127443953"/>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xtra Shapes + Graphics">
    <p:spTree>
      <p:nvGrpSpPr>
        <p:cNvPr id="1" name=""/>
        <p:cNvGrpSpPr/>
        <p:nvPr/>
      </p:nvGrpSpPr>
      <p:grpSpPr>
        <a:xfrm>
          <a:off x="0" y="0"/>
          <a:ext cx="0" cy="0"/>
          <a:chOff x="0" y="0"/>
          <a:chExt cx="0" cy="0"/>
        </a:xfrm>
      </p:grpSpPr>
      <p:sp>
        <p:nvSpPr>
          <p:cNvPr id="28" name="Oval 6">
            <a:extLst>
              <a:ext uri="{FF2B5EF4-FFF2-40B4-BE49-F238E27FC236}">
                <a16:creationId xmlns:a16="http://schemas.microsoft.com/office/drawing/2014/main" id="{89E5977D-FE2F-514C-ADCD-3FE383D19256}"/>
              </a:ext>
            </a:extLst>
          </p:cNvPr>
          <p:cNvSpPr/>
          <p:nvPr userDrawn="1"/>
        </p:nvSpPr>
        <p:spPr>
          <a:xfrm>
            <a:off x="5180332" y="900258"/>
            <a:ext cx="1872588" cy="1658164"/>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647 w 8905744"/>
              <a:gd name="connsiteY0" fmla="*/ 3720686 h 7653623"/>
              <a:gd name="connsiteX1" fmla="*/ 4336998 w 8905744"/>
              <a:gd name="connsiteY1" fmla="*/ 6980 h 7653623"/>
              <a:gd name="connsiteX2" fmla="*/ 8865959 w 8905744"/>
              <a:gd name="connsiteY2" fmla="*/ 4178468 h 7653623"/>
              <a:gd name="connsiteX3" fmla="*/ 4282407 w 8905744"/>
              <a:gd name="connsiteY3" fmla="*/ 7645633 h 7653623"/>
              <a:gd name="connsiteX4" fmla="*/ 647 w 8905744"/>
              <a:gd name="connsiteY4" fmla="*/ 3720686 h 7653623"/>
              <a:gd name="connsiteX0" fmla="*/ 647 w 8905744"/>
              <a:gd name="connsiteY0" fmla="*/ 3720686 h 7653623"/>
              <a:gd name="connsiteX1" fmla="*/ 4336998 w 8905744"/>
              <a:gd name="connsiteY1" fmla="*/ 6980 h 7653623"/>
              <a:gd name="connsiteX2" fmla="*/ 8865959 w 8905744"/>
              <a:gd name="connsiteY2" fmla="*/ 4178468 h 7653623"/>
              <a:gd name="connsiteX3" fmla="*/ 4282407 w 8905744"/>
              <a:gd name="connsiteY3" fmla="*/ 7645633 h 7653623"/>
              <a:gd name="connsiteX4" fmla="*/ 647 w 8905744"/>
              <a:gd name="connsiteY4" fmla="*/ 3720686 h 7653623"/>
              <a:gd name="connsiteX0" fmla="*/ 647 w 8866071"/>
              <a:gd name="connsiteY0" fmla="*/ 3720686 h 7695529"/>
              <a:gd name="connsiteX1" fmla="*/ 4336998 w 8866071"/>
              <a:gd name="connsiteY1" fmla="*/ 6980 h 7695529"/>
              <a:gd name="connsiteX2" fmla="*/ 8865959 w 8866071"/>
              <a:gd name="connsiteY2" fmla="*/ 4178468 h 7695529"/>
              <a:gd name="connsiteX3" fmla="*/ 4282407 w 8866071"/>
              <a:gd name="connsiteY3" fmla="*/ 7645633 h 7695529"/>
              <a:gd name="connsiteX4" fmla="*/ 647 w 8866071"/>
              <a:gd name="connsiteY4" fmla="*/ 3720686 h 7695529"/>
              <a:gd name="connsiteX0" fmla="*/ 11393 w 8883840"/>
              <a:gd name="connsiteY0" fmla="*/ 3715402 h 7642227"/>
              <a:gd name="connsiteX1" fmla="*/ 4347744 w 8883840"/>
              <a:gd name="connsiteY1" fmla="*/ 1696 h 7642227"/>
              <a:gd name="connsiteX2" fmla="*/ 8876705 w 8883840"/>
              <a:gd name="connsiteY2" fmla="*/ 4173184 h 7642227"/>
              <a:gd name="connsiteX3" fmla="*/ 3274561 w 8883840"/>
              <a:gd name="connsiteY3" fmla="*/ 7640351 h 7642227"/>
              <a:gd name="connsiteX4" fmla="*/ 11393 w 8883840"/>
              <a:gd name="connsiteY4" fmla="*/ 3715402 h 7642227"/>
              <a:gd name="connsiteX0" fmla="*/ 57268 w 8929715"/>
              <a:gd name="connsiteY0" fmla="*/ 3715402 h 7912219"/>
              <a:gd name="connsiteX1" fmla="*/ 4393619 w 8929715"/>
              <a:gd name="connsiteY1" fmla="*/ 1696 h 7912219"/>
              <a:gd name="connsiteX2" fmla="*/ 8922580 w 8929715"/>
              <a:gd name="connsiteY2" fmla="*/ 4173184 h 7912219"/>
              <a:gd name="connsiteX3" fmla="*/ 3320436 w 8929715"/>
              <a:gd name="connsiteY3" fmla="*/ 7640351 h 7912219"/>
              <a:gd name="connsiteX4" fmla="*/ 57268 w 8929715"/>
              <a:gd name="connsiteY4" fmla="*/ 3715402 h 7912219"/>
              <a:gd name="connsiteX0" fmla="*/ 57268 w 8922847"/>
              <a:gd name="connsiteY0" fmla="*/ 3715402 h 8013967"/>
              <a:gd name="connsiteX1" fmla="*/ 4393619 w 8922847"/>
              <a:gd name="connsiteY1" fmla="*/ 1696 h 8013967"/>
              <a:gd name="connsiteX2" fmla="*/ 8922580 w 8922847"/>
              <a:gd name="connsiteY2" fmla="*/ 4173184 h 8013967"/>
              <a:gd name="connsiteX3" fmla="*/ 3320436 w 8922847"/>
              <a:gd name="connsiteY3" fmla="*/ 7640351 h 8013967"/>
              <a:gd name="connsiteX4" fmla="*/ 57268 w 8922847"/>
              <a:gd name="connsiteY4" fmla="*/ 3715402 h 8013967"/>
              <a:gd name="connsiteX0" fmla="*/ 3089 w 8868668"/>
              <a:gd name="connsiteY0" fmla="*/ 3717175 h 8015740"/>
              <a:gd name="connsiteX1" fmla="*/ 4339440 w 8868668"/>
              <a:gd name="connsiteY1" fmla="*/ 3469 h 8015740"/>
              <a:gd name="connsiteX2" fmla="*/ 8868401 w 8868668"/>
              <a:gd name="connsiteY2" fmla="*/ 4174957 h 8015740"/>
              <a:gd name="connsiteX3" fmla="*/ 3266257 w 8868668"/>
              <a:gd name="connsiteY3" fmla="*/ 7642124 h 8015740"/>
              <a:gd name="connsiteX4" fmla="*/ 3089 w 8868668"/>
              <a:gd name="connsiteY4" fmla="*/ 3717175 h 8015740"/>
              <a:gd name="connsiteX0" fmla="*/ 4680 w 8870396"/>
              <a:gd name="connsiteY0" fmla="*/ 3714629 h 8013194"/>
              <a:gd name="connsiteX1" fmla="*/ 4341031 w 8870396"/>
              <a:gd name="connsiteY1" fmla="*/ 923 h 8013194"/>
              <a:gd name="connsiteX2" fmla="*/ 8869992 w 8870396"/>
              <a:gd name="connsiteY2" fmla="*/ 4172411 h 8013194"/>
              <a:gd name="connsiteX3" fmla="*/ 3267848 w 8870396"/>
              <a:gd name="connsiteY3" fmla="*/ 7639578 h 8013194"/>
              <a:gd name="connsiteX4" fmla="*/ 4680 w 8870396"/>
              <a:gd name="connsiteY4" fmla="*/ 3714629 h 8013194"/>
              <a:gd name="connsiteX0" fmla="*/ 5802 w 8871617"/>
              <a:gd name="connsiteY0" fmla="*/ 3717175 h 8015740"/>
              <a:gd name="connsiteX1" fmla="*/ 4342153 w 8871617"/>
              <a:gd name="connsiteY1" fmla="*/ 3469 h 8015740"/>
              <a:gd name="connsiteX2" fmla="*/ 8871114 w 8871617"/>
              <a:gd name="connsiteY2" fmla="*/ 4174957 h 8015740"/>
              <a:gd name="connsiteX3" fmla="*/ 3268970 w 8871617"/>
              <a:gd name="connsiteY3" fmla="*/ 7642124 h 8015740"/>
              <a:gd name="connsiteX4" fmla="*/ 5802 w 8871617"/>
              <a:gd name="connsiteY4" fmla="*/ 3717175 h 8015740"/>
              <a:gd name="connsiteX0" fmla="*/ 122840 w 8988655"/>
              <a:gd name="connsiteY0" fmla="*/ 3723976 h 8022541"/>
              <a:gd name="connsiteX1" fmla="*/ 4459191 w 8988655"/>
              <a:gd name="connsiteY1" fmla="*/ 10270 h 8022541"/>
              <a:gd name="connsiteX2" fmla="*/ 8988152 w 8988655"/>
              <a:gd name="connsiteY2" fmla="*/ 4181758 h 8022541"/>
              <a:gd name="connsiteX3" fmla="*/ 3386008 w 8988655"/>
              <a:gd name="connsiteY3" fmla="*/ 7648925 h 8022541"/>
              <a:gd name="connsiteX4" fmla="*/ 122840 w 8988655"/>
              <a:gd name="connsiteY4" fmla="*/ 3723976 h 8022541"/>
              <a:gd name="connsiteX0" fmla="*/ 74375 w 9376495"/>
              <a:gd name="connsiteY0" fmla="*/ 3833396 h 7646364"/>
              <a:gd name="connsiteX1" fmla="*/ 4847261 w 9376495"/>
              <a:gd name="connsiteY1" fmla="*/ 5202 h 7646364"/>
              <a:gd name="connsiteX2" fmla="*/ 9376222 w 9376495"/>
              <a:gd name="connsiteY2" fmla="*/ 4176690 h 7646364"/>
              <a:gd name="connsiteX3" fmla="*/ 3774078 w 9376495"/>
              <a:gd name="connsiteY3" fmla="*/ 7643857 h 7646364"/>
              <a:gd name="connsiteX4" fmla="*/ 74375 w 9376495"/>
              <a:gd name="connsiteY4" fmla="*/ 3833396 h 7646364"/>
              <a:gd name="connsiteX0" fmla="*/ 74375 w 9376495"/>
              <a:gd name="connsiteY0" fmla="*/ 3833396 h 7667575"/>
              <a:gd name="connsiteX1" fmla="*/ 4847261 w 9376495"/>
              <a:gd name="connsiteY1" fmla="*/ 5202 h 7667575"/>
              <a:gd name="connsiteX2" fmla="*/ 9376222 w 9376495"/>
              <a:gd name="connsiteY2" fmla="*/ 4176690 h 7667575"/>
              <a:gd name="connsiteX3" fmla="*/ 3774078 w 9376495"/>
              <a:gd name="connsiteY3" fmla="*/ 7643857 h 7667575"/>
              <a:gd name="connsiteX4" fmla="*/ 74375 w 9376495"/>
              <a:gd name="connsiteY4" fmla="*/ 3833396 h 7667575"/>
              <a:gd name="connsiteX0" fmla="*/ 74375 w 9376495"/>
              <a:gd name="connsiteY0" fmla="*/ 3833396 h 8025314"/>
              <a:gd name="connsiteX1" fmla="*/ 4847261 w 9376495"/>
              <a:gd name="connsiteY1" fmla="*/ 5202 h 8025314"/>
              <a:gd name="connsiteX2" fmla="*/ 9376222 w 9376495"/>
              <a:gd name="connsiteY2" fmla="*/ 4176690 h 8025314"/>
              <a:gd name="connsiteX3" fmla="*/ 3774078 w 9376495"/>
              <a:gd name="connsiteY3" fmla="*/ 7643857 h 8025314"/>
              <a:gd name="connsiteX4" fmla="*/ 74375 w 9376495"/>
              <a:gd name="connsiteY4" fmla="*/ 3833396 h 8025314"/>
              <a:gd name="connsiteX0" fmla="*/ 68891 w 9789817"/>
              <a:gd name="connsiteY0" fmla="*/ 3886600 h 7662715"/>
              <a:gd name="connsiteX1" fmla="*/ 5260573 w 9789817"/>
              <a:gd name="connsiteY1" fmla="*/ 3488 h 7662715"/>
              <a:gd name="connsiteX2" fmla="*/ 9789534 w 9789817"/>
              <a:gd name="connsiteY2" fmla="*/ 4174976 h 7662715"/>
              <a:gd name="connsiteX3" fmla="*/ 4187390 w 9789817"/>
              <a:gd name="connsiteY3" fmla="*/ 7642143 h 7662715"/>
              <a:gd name="connsiteX4" fmla="*/ 68891 w 9789817"/>
              <a:gd name="connsiteY4" fmla="*/ 3886600 h 7662715"/>
              <a:gd name="connsiteX0" fmla="*/ 8525 w 9736614"/>
              <a:gd name="connsiteY0" fmla="*/ 4268121 h 8024448"/>
              <a:gd name="connsiteX1" fmla="*/ 5200208 w 9736614"/>
              <a:gd name="connsiteY1" fmla="*/ 576 h 8024448"/>
              <a:gd name="connsiteX2" fmla="*/ 9729168 w 9736614"/>
              <a:gd name="connsiteY2" fmla="*/ 4556497 h 8024448"/>
              <a:gd name="connsiteX3" fmla="*/ 4127024 w 9736614"/>
              <a:gd name="connsiteY3" fmla="*/ 8023664 h 8024448"/>
              <a:gd name="connsiteX4" fmla="*/ 8525 w 9736614"/>
              <a:gd name="connsiteY4" fmla="*/ 4268121 h 8024448"/>
              <a:gd name="connsiteX0" fmla="*/ 8525 w 9809186"/>
              <a:gd name="connsiteY0" fmla="*/ 4267555 h 8023882"/>
              <a:gd name="connsiteX1" fmla="*/ 5200208 w 9809186"/>
              <a:gd name="connsiteY1" fmla="*/ 10 h 8023882"/>
              <a:gd name="connsiteX2" fmla="*/ 9729168 w 9809186"/>
              <a:gd name="connsiteY2" fmla="*/ 4555931 h 8023882"/>
              <a:gd name="connsiteX3" fmla="*/ 4127024 w 9809186"/>
              <a:gd name="connsiteY3" fmla="*/ 8023098 h 8023882"/>
              <a:gd name="connsiteX4" fmla="*/ 8525 w 9809186"/>
              <a:gd name="connsiteY4" fmla="*/ 4267555 h 8023882"/>
              <a:gd name="connsiteX0" fmla="*/ 33387 w 9834048"/>
              <a:gd name="connsiteY0" fmla="*/ 4267555 h 8297676"/>
              <a:gd name="connsiteX1" fmla="*/ 5225070 w 9834048"/>
              <a:gd name="connsiteY1" fmla="*/ 10 h 8297676"/>
              <a:gd name="connsiteX2" fmla="*/ 9754030 w 9834048"/>
              <a:gd name="connsiteY2" fmla="*/ 4555931 h 8297676"/>
              <a:gd name="connsiteX3" fmla="*/ 4151886 w 9834048"/>
              <a:gd name="connsiteY3" fmla="*/ 8023098 h 8297676"/>
              <a:gd name="connsiteX4" fmla="*/ 33387 w 9834048"/>
              <a:gd name="connsiteY4" fmla="*/ 4267555 h 8297676"/>
              <a:gd name="connsiteX0" fmla="*/ 36908 w 9837569"/>
              <a:gd name="connsiteY0" fmla="*/ 4267555 h 8297676"/>
              <a:gd name="connsiteX1" fmla="*/ 5228591 w 9837569"/>
              <a:gd name="connsiteY1" fmla="*/ 10 h 8297676"/>
              <a:gd name="connsiteX2" fmla="*/ 9757551 w 9837569"/>
              <a:gd name="connsiteY2" fmla="*/ 4555931 h 8297676"/>
              <a:gd name="connsiteX3" fmla="*/ 4155407 w 9837569"/>
              <a:gd name="connsiteY3" fmla="*/ 8023098 h 8297676"/>
              <a:gd name="connsiteX4" fmla="*/ 36908 w 9837569"/>
              <a:gd name="connsiteY4" fmla="*/ 4267555 h 8297676"/>
              <a:gd name="connsiteX0" fmla="*/ 36908 w 9837569"/>
              <a:gd name="connsiteY0" fmla="*/ 4267555 h 8371648"/>
              <a:gd name="connsiteX1" fmla="*/ 5228591 w 9837569"/>
              <a:gd name="connsiteY1" fmla="*/ 10 h 8371648"/>
              <a:gd name="connsiteX2" fmla="*/ 9757551 w 9837569"/>
              <a:gd name="connsiteY2" fmla="*/ 4555931 h 8371648"/>
              <a:gd name="connsiteX3" fmla="*/ 4155407 w 9837569"/>
              <a:gd name="connsiteY3" fmla="*/ 8023098 h 8371648"/>
              <a:gd name="connsiteX4" fmla="*/ 36908 w 9837569"/>
              <a:gd name="connsiteY4" fmla="*/ 4267555 h 8371648"/>
              <a:gd name="connsiteX0" fmla="*/ 36908 w 9770978"/>
              <a:gd name="connsiteY0" fmla="*/ 4267555 h 8643310"/>
              <a:gd name="connsiteX1" fmla="*/ 5228591 w 9770978"/>
              <a:gd name="connsiteY1" fmla="*/ 10 h 8643310"/>
              <a:gd name="connsiteX2" fmla="*/ 9757551 w 9770978"/>
              <a:gd name="connsiteY2" fmla="*/ 4555931 h 8643310"/>
              <a:gd name="connsiteX3" fmla="*/ 6538587 w 9770978"/>
              <a:gd name="connsiteY3" fmla="*/ 8296184 h 8643310"/>
              <a:gd name="connsiteX4" fmla="*/ 4155407 w 9770978"/>
              <a:gd name="connsiteY4" fmla="*/ 8023098 h 8643310"/>
              <a:gd name="connsiteX5" fmla="*/ 36908 w 9770978"/>
              <a:gd name="connsiteY5" fmla="*/ 4267555 h 8643310"/>
              <a:gd name="connsiteX0" fmla="*/ 45630 w 9779700"/>
              <a:gd name="connsiteY0" fmla="*/ 4267555 h 8296184"/>
              <a:gd name="connsiteX1" fmla="*/ 5237313 w 9779700"/>
              <a:gd name="connsiteY1" fmla="*/ 10 h 8296184"/>
              <a:gd name="connsiteX2" fmla="*/ 9766273 w 9779700"/>
              <a:gd name="connsiteY2" fmla="*/ 4555931 h 8296184"/>
              <a:gd name="connsiteX3" fmla="*/ 6547309 w 9779700"/>
              <a:gd name="connsiteY3" fmla="*/ 8296184 h 8296184"/>
              <a:gd name="connsiteX4" fmla="*/ 45630 w 9779700"/>
              <a:gd name="connsiteY4" fmla="*/ 4267555 h 8296184"/>
              <a:gd name="connsiteX0" fmla="*/ 45630 w 9784197"/>
              <a:gd name="connsiteY0" fmla="*/ 4267555 h 8296893"/>
              <a:gd name="connsiteX1" fmla="*/ 5237313 w 9784197"/>
              <a:gd name="connsiteY1" fmla="*/ 10 h 8296893"/>
              <a:gd name="connsiteX2" fmla="*/ 9766273 w 9784197"/>
              <a:gd name="connsiteY2" fmla="*/ 4555931 h 8296893"/>
              <a:gd name="connsiteX3" fmla="*/ 6547309 w 9784197"/>
              <a:gd name="connsiteY3" fmla="*/ 8296184 h 8296893"/>
              <a:gd name="connsiteX4" fmla="*/ 45630 w 9784197"/>
              <a:gd name="connsiteY4" fmla="*/ 4267555 h 8296893"/>
              <a:gd name="connsiteX0" fmla="*/ 45630 w 9794788"/>
              <a:gd name="connsiteY0" fmla="*/ 4267555 h 8296893"/>
              <a:gd name="connsiteX1" fmla="*/ 5237313 w 9794788"/>
              <a:gd name="connsiteY1" fmla="*/ 10 h 8296893"/>
              <a:gd name="connsiteX2" fmla="*/ 9766273 w 9794788"/>
              <a:gd name="connsiteY2" fmla="*/ 4555931 h 8296893"/>
              <a:gd name="connsiteX3" fmla="*/ 6547309 w 9794788"/>
              <a:gd name="connsiteY3" fmla="*/ 8296184 h 8296893"/>
              <a:gd name="connsiteX4" fmla="*/ 45630 w 9794788"/>
              <a:gd name="connsiteY4" fmla="*/ 4267555 h 8296893"/>
              <a:gd name="connsiteX0" fmla="*/ 61305 w 9810463"/>
              <a:gd name="connsiteY0" fmla="*/ 4267555 h 8296893"/>
              <a:gd name="connsiteX1" fmla="*/ 5252988 w 9810463"/>
              <a:gd name="connsiteY1" fmla="*/ 10 h 8296893"/>
              <a:gd name="connsiteX2" fmla="*/ 9781948 w 9810463"/>
              <a:gd name="connsiteY2" fmla="*/ 4555931 h 8296893"/>
              <a:gd name="connsiteX3" fmla="*/ 6562984 w 9810463"/>
              <a:gd name="connsiteY3" fmla="*/ 8296184 h 8296893"/>
              <a:gd name="connsiteX4" fmla="*/ 61305 w 9810463"/>
              <a:gd name="connsiteY4" fmla="*/ 4267555 h 8296893"/>
              <a:gd name="connsiteX0" fmla="*/ 277 w 9749435"/>
              <a:gd name="connsiteY0" fmla="*/ 4267555 h 8296893"/>
              <a:gd name="connsiteX1" fmla="*/ 5191960 w 9749435"/>
              <a:gd name="connsiteY1" fmla="*/ 10 h 8296893"/>
              <a:gd name="connsiteX2" fmla="*/ 9720920 w 9749435"/>
              <a:gd name="connsiteY2" fmla="*/ 4555931 h 8296893"/>
              <a:gd name="connsiteX3" fmla="*/ 6501956 w 9749435"/>
              <a:gd name="connsiteY3" fmla="*/ 8296184 h 8296893"/>
              <a:gd name="connsiteX4" fmla="*/ 277 w 9749435"/>
              <a:gd name="connsiteY4" fmla="*/ 4267555 h 8296893"/>
              <a:gd name="connsiteX0" fmla="*/ 17060 w 9752501"/>
              <a:gd name="connsiteY0" fmla="*/ 4212638 h 8241971"/>
              <a:gd name="connsiteX1" fmla="*/ 5627538 w 9752501"/>
              <a:gd name="connsiteY1" fmla="*/ 10 h 8241971"/>
              <a:gd name="connsiteX2" fmla="*/ 9737703 w 9752501"/>
              <a:gd name="connsiteY2" fmla="*/ 4501014 h 8241971"/>
              <a:gd name="connsiteX3" fmla="*/ 6518739 w 9752501"/>
              <a:gd name="connsiteY3" fmla="*/ 8241267 h 8241971"/>
              <a:gd name="connsiteX4" fmla="*/ 17060 w 9752501"/>
              <a:gd name="connsiteY4" fmla="*/ 4212638 h 8241971"/>
              <a:gd name="connsiteX0" fmla="*/ 17060 w 9752501"/>
              <a:gd name="connsiteY0" fmla="*/ 4212638 h 8241971"/>
              <a:gd name="connsiteX1" fmla="*/ 5627538 w 9752501"/>
              <a:gd name="connsiteY1" fmla="*/ 10 h 8241971"/>
              <a:gd name="connsiteX2" fmla="*/ 9737703 w 9752501"/>
              <a:gd name="connsiteY2" fmla="*/ 4501014 h 8241971"/>
              <a:gd name="connsiteX3" fmla="*/ 6518739 w 9752501"/>
              <a:gd name="connsiteY3" fmla="*/ 8241267 h 8241971"/>
              <a:gd name="connsiteX4" fmla="*/ 17060 w 9752501"/>
              <a:gd name="connsiteY4" fmla="*/ 4212638 h 8241971"/>
              <a:gd name="connsiteX0" fmla="*/ 17063 w 9752504"/>
              <a:gd name="connsiteY0" fmla="*/ 4212638 h 8241974"/>
              <a:gd name="connsiteX1" fmla="*/ 5627541 w 9752504"/>
              <a:gd name="connsiteY1" fmla="*/ 10 h 8241974"/>
              <a:gd name="connsiteX2" fmla="*/ 9737706 w 9752504"/>
              <a:gd name="connsiteY2" fmla="*/ 4501014 h 8241974"/>
              <a:gd name="connsiteX3" fmla="*/ 6518742 w 9752504"/>
              <a:gd name="connsiteY3" fmla="*/ 8241267 h 8241974"/>
              <a:gd name="connsiteX4" fmla="*/ 17063 w 9752504"/>
              <a:gd name="connsiteY4" fmla="*/ 4212638 h 8241974"/>
              <a:gd name="connsiteX0" fmla="*/ 17063 w 9803795"/>
              <a:gd name="connsiteY0" fmla="*/ 4212641 h 8242118"/>
              <a:gd name="connsiteX1" fmla="*/ 5627541 w 9803795"/>
              <a:gd name="connsiteY1" fmla="*/ 13 h 8242118"/>
              <a:gd name="connsiteX2" fmla="*/ 9737706 w 9803795"/>
              <a:gd name="connsiteY2" fmla="*/ 4501017 h 8242118"/>
              <a:gd name="connsiteX3" fmla="*/ 6518742 w 9803795"/>
              <a:gd name="connsiteY3" fmla="*/ 8241270 h 8242118"/>
              <a:gd name="connsiteX4" fmla="*/ 17063 w 9803795"/>
              <a:gd name="connsiteY4" fmla="*/ 4212641 h 8242118"/>
              <a:gd name="connsiteX0" fmla="*/ 17063 w 10147859"/>
              <a:gd name="connsiteY0" fmla="*/ 4212641 h 8242069"/>
              <a:gd name="connsiteX1" fmla="*/ 5627541 w 10147859"/>
              <a:gd name="connsiteY1" fmla="*/ 13 h 8242069"/>
              <a:gd name="connsiteX2" fmla="*/ 9737706 w 10147859"/>
              <a:gd name="connsiteY2" fmla="*/ 4501017 h 8242069"/>
              <a:gd name="connsiteX3" fmla="*/ 6518742 w 10147859"/>
              <a:gd name="connsiteY3" fmla="*/ 8241270 h 8242069"/>
              <a:gd name="connsiteX4" fmla="*/ 17063 w 10147859"/>
              <a:gd name="connsiteY4" fmla="*/ 4212641 h 8242069"/>
              <a:gd name="connsiteX0" fmla="*/ 40184 w 10170980"/>
              <a:gd name="connsiteY0" fmla="*/ 4212641 h 8242069"/>
              <a:gd name="connsiteX1" fmla="*/ 5650662 w 10170980"/>
              <a:gd name="connsiteY1" fmla="*/ 13 h 8242069"/>
              <a:gd name="connsiteX2" fmla="*/ 9760827 w 10170980"/>
              <a:gd name="connsiteY2" fmla="*/ 4501017 h 8242069"/>
              <a:gd name="connsiteX3" fmla="*/ 6541863 w 10170980"/>
              <a:gd name="connsiteY3" fmla="*/ 8241270 h 8242069"/>
              <a:gd name="connsiteX4" fmla="*/ 40184 w 10170980"/>
              <a:gd name="connsiteY4" fmla="*/ 4212641 h 8242069"/>
              <a:gd name="connsiteX0" fmla="*/ 184609 w 10315405"/>
              <a:gd name="connsiteY0" fmla="*/ 4212641 h 8242069"/>
              <a:gd name="connsiteX1" fmla="*/ 5795087 w 10315405"/>
              <a:gd name="connsiteY1" fmla="*/ 13 h 8242069"/>
              <a:gd name="connsiteX2" fmla="*/ 9905252 w 10315405"/>
              <a:gd name="connsiteY2" fmla="*/ 4501017 h 8242069"/>
              <a:gd name="connsiteX3" fmla="*/ 6686288 w 10315405"/>
              <a:gd name="connsiteY3" fmla="*/ 8241270 h 8242069"/>
              <a:gd name="connsiteX4" fmla="*/ 184609 w 10315405"/>
              <a:gd name="connsiteY4" fmla="*/ 4212641 h 8242069"/>
              <a:gd name="connsiteX0" fmla="*/ 11872 w 9881646"/>
              <a:gd name="connsiteY0" fmla="*/ 4212641 h 8369045"/>
              <a:gd name="connsiteX1" fmla="*/ 5622350 w 9881646"/>
              <a:gd name="connsiteY1" fmla="*/ 13 h 8369045"/>
              <a:gd name="connsiteX2" fmla="*/ 9732515 w 9881646"/>
              <a:gd name="connsiteY2" fmla="*/ 4501017 h 8369045"/>
              <a:gd name="connsiteX3" fmla="*/ 4453929 w 9881646"/>
              <a:gd name="connsiteY3" fmla="*/ 8368369 h 8369045"/>
              <a:gd name="connsiteX4" fmla="*/ 11872 w 9881646"/>
              <a:gd name="connsiteY4" fmla="*/ 4212641 h 8369045"/>
              <a:gd name="connsiteX0" fmla="*/ 16752 w 9886526"/>
              <a:gd name="connsiteY0" fmla="*/ 4212641 h 8370198"/>
              <a:gd name="connsiteX1" fmla="*/ 5627230 w 9886526"/>
              <a:gd name="connsiteY1" fmla="*/ 13 h 8370198"/>
              <a:gd name="connsiteX2" fmla="*/ 9737395 w 9886526"/>
              <a:gd name="connsiteY2" fmla="*/ 4501017 h 8370198"/>
              <a:gd name="connsiteX3" fmla="*/ 4458809 w 9886526"/>
              <a:gd name="connsiteY3" fmla="*/ 8368369 h 8370198"/>
              <a:gd name="connsiteX4" fmla="*/ 16752 w 9886526"/>
              <a:gd name="connsiteY4" fmla="*/ 4212641 h 8370198"/>
              <a:gd name="connsiteX0" fmla="*/ 41634 w 9911408"/>
              <a:gd name="connsiteY0" fmla="*/ 4212641 h 8370198"/>
              <a:gd name="connsiteX1" fmla="*/ 5652112 w 9911408"/>
              <a:gd name="connsiteY1" fmla="*/ 13 h 8370198"/>
              <a:gd name="connsiteX2" fmla="*/ 9762277 w 9911408"/>
              <a:gd name="connsiteY2" fmla="*/ 4501017 h 8370198"/>
              <a:gd name="connsiteX3" fmla="*/ 4483691 w 9911408"/>
              <a:gd name="connsiteY3" fmla="*/ 8368369 h 8370198"/>
              <a:gd name="connsiteX4" fmla="*/ 41634 w 9911408"/>
              <a:gd name="connsiteY4" fmla="*/ 4212641 h 837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408" h="8370198">
                <a:moveTo>
                  <a:pt x="41634" y="4212641"/>
                </a:moveTo>
                <a:cubicBezTo>
                  <a:pt x="-217959" y="2214189"/>
                  <a:pt x="629301" y="6868"/>
                  <a:pt x="5652112" y="13"/>
                </a:cubicBezTo>
                <a:cubicBezTo>
                  <a:pt x="10674923" y="-6842"/>
                  <a:pt x="9957014" y="3106291"/>
                  <a:pt x="9762277" y="4501017"/>
                </a:cubicBezTo>
                <a:cubicBezTo>
                  <a:pt x="9567540" y="5895743"/>
                  <a:pt x="7615959" y="8448207"/>
                  <a:pt x="4483691" y="8368369"/>
                </a:cubicBezTo>
                <a:cubicBezTo>
                  <a:pt x="1351423" y="8288531"/>
                  <a:pt x="301227" y="6211093"/>
                  <a:pt x="41634" y="4212641"/>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Oval 1">
            <a:extLst>
              <a:ext uri="{FF2B5EF4-FFF2-40B4-BE49-F238E27FC236}">
                <a16:creationId xmlns:a16="http://schemas.microsoft.com/office/drawing/2014/main" id="{6A8D6CD7-C9F0-AF47-9EAE-3D0AA6C2AFCD}"/>
              </a:ext>
            </a:extLst>
          </p:cNvPr>
          <p:cNvSpPr/>
          <p:nvPr userDrawn="1"/>
        </p:nvSpPr>
        <p:spPr>
          <a:xfrm>
            <a:off x="454378" y="884848"/>
            <a:ext cx="1867124" cy="1688985"/>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 name="Straight Connector 2">
            <a:extLst>
              <a:ext uri="{FF2B5EF4-FFF2-40B4-BE49-F238E27FC236}">
                <a16:creationId xmlns:a16="http://schemas.microsoft.com/office/drawing/2014/main" id="{149C3449-BA41-7741-B916-B7DBEE9C0AAE}"/>
              </a:ext>
            </a:extLst>
          </p:cNvPr>
          <p:cNvCxnSpPr>
            <a:cxnSpLocks/>
          </p:cNvCxnSpPr>
          <p:nvPr userDrawn="1"/>
        </p:nvCxnSpPr>
        <p:spPr>
          <a:xfrm>
            <a:off x="11392" y="650718"/>
            <a:ext cx="261089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0B23CFE-28CB-6D4A-A42B-7B52A8D5B9A6}"/>
              </a:ext>
            </a:extLst>
          </p:cNvPr>
          <p:cNvSpPr txBox="1"/>
          <p:nvPr userDrawn="1"/>
        </p:nvSpPr>
        <p:spPr>
          <a:xfrm>
            <a:off x="0" y="349701"/>
            <a:ext cx="4405373" cy="261610"/>
          </a:xfrm>
          <a:prstGeom prst="rect">
            <a:avLst/>
          </a:prstGeom>
          <a:noFill/>
        </p:spPr>
        <p:txBody>
          <a:bodyPr wrap="none" rtlCol="0" anchor="ctr">
            <a:spAutoFit/>
          </a:bodyPr>
          <a:lstStyle/>
          <a:p>
            <a:r>
              <a:rPr lang="en-US" sz="1100" b="1" dirty="0">
                <a:solidFill>
                  <a:schemeClr val="bg1"/>
                </a:solidFill>
                <a:latin typeface="Myriad Pro" panose="020B0503030403020204" pitchFamily="34" charset="0"/>
                <a:ea typeface="Verdana" panose="020B0604030504040204" pitchFamily="34" charset="0"/>
                <a:cs typeface="Verdana" panose="020B0604030504040204" pitchFamily="34" charset="0"/>
              </a:rPr>
              <a:t>Extra Organic Shapes to Use </a:t>
            </a:r>
            <a:r>
              <a:rPr lang="en-US" sz="1100" b="0" dirty="0">
                <a:solidFill>
                  <a:schemeClr val="bg1"/>
                </a:solidFill>
                <a:latin typeface="Myriad Pro" panose="020B0503030403020204" pitchFamily="34" charset="0"/>
                <a:ea typeface="Verdana" panose="020B0604030504040204" pitchFamily="34" charset="0"/>
                <a:cs typeface="Verdana" panose="020B0604030504040204" pitchFamily="34" charset="0"/>
              </a:rPr>
              <a:t>(behind numbers, images, headlines, etc.)</a:t>
            </a:r>
          </a:p>
        </p:txBody>
      </p:sp>
      <p:sp>
        <p:nvSpPr>
          <p:cNvPr id="8" name="Oval 1">
            <a:extLst>
              <a:ext uri="{FF2B5EF4-FFF2-40B4-BE49-F238E27FC236}">
                <a16:creationId xmlns:a16="http://schemas.microsoft.com/office/drawing/2014/main" id="{C2F02907-D638-E74C-B23F-8C1C15A6957C}"/>
              </a:ext>
            </a:extLst>
          </p:cNvPr>
          <p:cNvSpPr/>
          <p:nvPr userDrawn="1"/>
        </p:nvSpPr>
        <p:spPr>
          <a:xfrm>
            <a:off x="528969" y="2813551"/>
            <a:ext cx="1453449" cy="1685396"/>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4 w 5483127"/>
              <a:gd name="connsiteY0" fmla="*/ 3053598 h 6290048"/>
              <a:gd name="connsiteX1" fmla="*/ 4485664 w 5483127"/>
              <a:gd name="connsiteY1" fmla="*/ 56 h 6290048"/>
              <a:gd name="connsiteX2" fmla="*/ 5482446 w 5483127"/>
              <a:gd name="connsiteY2" fmla="*/ 3100262 h 6290048"/>
              <a:gd name="connsiteX3" fmla="*/ 4485664 w 5483127"/>
              <a:gd name="connsiteY3" fmla="*/ 6290020 h 6290048"/>
              <a:gd name="connsiteX4" fmla="*/ 24 w 5483127"/>
              <a:gd name="connsiteY4" fmla="*/ 3053598 h 6290048"/>
              <a:gd name="connsiteX0" fmla="*/ 24 w 6313297"/>
              <a:gd name="connsiteY0" fmla="*/ 3053598 h 6290052"/>
              <a:gd name="connsiteX1" fmla="*/ 4485664 w 6313297"/>
              <a:gd name="connsiteY1" fmla="*/ 56 h 6290052"/>
              <a:gd name="connsiteX2" fmla="*/ 5482446 w 6313297"/>
              <a:gd name="connsiteY2" fmla="*/ 3100262 h 6290052"/>
              <a:gd name="connsiteX3" fmla="*/ 4485664 w 6313297"/>
              <a:gd name="connsiteY3" fmla="*/ 6290020 h 6290052"/>
              <a:gd name="connsiteX4" fmla="*/ 24 w 6313297"/>
              <a:gd name="connsiteY4" fmla="*/ 3053598 h 6290052"/>
              <a:gd name="connsiteX0" fmla="*/ 24 w 6313297"/>
              <a:gd name="connsiteY0" fmla="*/ 3053598 h 6290056"/>
              <a:gd name="connsiteX1" fmla="*/ 4485664 w 6313297"/>
              <a:gd name="connsiteY1" fmla="*/ 56 h 6290056"/>
              <a:gd name="connsiteX2" fmla="*/ 5482446 w 6313297"/>
              <a:gd name="connsiteY2" fmla="*/ 3100262 h 6290056"/>
              <a:gd name="connsiteX3" fmla="*/ 4485664 w 6313297"/>
              <a:gd name="connsiteY3" fmla="*/ 6290020 h 6290056"/>
              <a:gd name="connsiteX4" fmla="*/ 24 w 6313297"/>
              <a:gd name="connsiteY4" fmla="*/ 3053598 h 6290056"/>
              <a:gd name="connsiteX0" fmla="*/ 313 w 6313586"/>
              <a:gd name="connsiteY0" fmla="*/ 3053571 h 6290029"/>
              <a:gd name="connsiteX1" fmla="*/ 4485953 w 6313586"/>
              <a:gd name="connsiteY1" fmla="*/ 29 h 6290029"/>
              <a:gd name="connsiteX2" fmla="*/ 5482735 w 6313586"/>
              <a:gd name="connsiteY2" fmla="*/ 3100235 h 6290029"/>
              <a:gd name="connsiteX3" fmla="*/ 4485953 w 6313586"/>
              <a:gd name="connsiteY3" fmla="*/ 6289993 h 6290029"/>
              <a:gd name="connsiteX4" fmla="*/ 313 w 6313586"/>
              <a:gd name="connsiteY4" fmla="*/ 3053571 h 6290029"/>
              <a:gd name="connsiteX0" fmla="*/ 313 w 5538556"/>
              <a:gd name="connsiteY0" fmla="*/ 3053571 h 6290083"/>
              <a:gd name="connsiteX1" fmla="*/ 4485953 w 5538556"/>
              <a:gd name="connsiteY1" fmla="*/ 29 h 6290083"/>
              <a:gd name="connsiteX2" fmla="*/ 5482735 w 5538556"/>
              <a:gd name="connsiteY2" fmla="*/ 3100235 h 6290083"/>
              <a:gd name="connsiteX3" fmla="*/ 4485953 w 5538556"/>
              <a:gd name="connsiteY3" fmla="*/ 6289993 h 6290083"/>
              <a:gd name="connsiteX4" fmla="*/ 313 w 5538556"/>
              <a:gd name="connsiteY4" fmla="*/ 3053571 h 6290083"/>
              <a:gd name="connsiteX0" fmla="*/ 1334 w 6391803"/>
              <a:gd name="connsiteY0" fmla="*/ 3071215 h 6307731"/>
              <a:gd name="connsiteX1" fmla="*/ 4486974 w 6391803"/>
              <a:gd name="connsiteY1" fmla="*/ 17673 h 6307731"/>
              <a:gd name="connsiteX2" fmla="*/ 5483756 w 6391803"/>
              <a:gd name="connsiteY2" fmla="*/ 3117879 h 6307731"/>
              <a:gd name="connsiteX3" fmla="*/ 4486974 w 6391803"/>
              <a:gd name="connsiteY3" fmla="*/ 6307637 h 6307731"/>
              <a:gd name="connsiteX4" fmla="*/ 1334 w 6391803"/>
              <a:gd name="connsiteY4" fmla="*/ 3071215 h 6307731"/>
              <a:gd name="connsiteX0" fmla="*/ 1334 w 6391803"/>
              <a:gd name="connsiteY0" fmla="*/ 3071215 h 6308215"/>
              <a:gd name="connsiteX1" fmla="*/ 4486974 w 6391803"/>
              <a:gd name="connsiteY1" fmla="*/ 17673 h 6308215"/>
              <a:gd name="connsiteX2" fmla="*/ 5483756 w 6391803"/>
              <a:gd name="connsiteY2" fmla="*/ 3117879 h 6308215"/>
              <a:gd name="connsiteX3" fmla="*/ 4486974 w 6391803"/>
              <a:gd name="connsiteY3" fmla="*/ 6307637 h 6308215"/>
              <a:gd name="connsiteX4" fmla="*/ 1334 w 6391803"/>
              <a:gd name="connsiteY4" fmla="*/ 3071215 h 6308215"/>
              <a:gd name="connsiteX0" fmla="*/ 70 w 6390539"/>
              <a:gd name="connsiteY0" fmla="*/ 3071215 h 6308281"/>
              <a:gd name="connsiteX1" fmla="*/ 4485710 w 6390539"/>
              <a:gd name="connsiteY1" fmla="*/ 17673 h 6308281"/>
              <a:gd name="connsiteX2" fmla="*/ 5482492 w 6390539"/>
              <a:gd name="connsiteY2" fmla="*/ 3117879 h 6308281"/>
              <a:gd name="connsiteX3" fmla="*/ 4485710 w 6390539"/>
              <a:gd name="connsiteY3" fmla="*/ 6307637 h 6308281"/>
              <a:gd name="connsiteX4" fmla="*/ 70 w 6390539"/>
              <a:gd name="connsiteY4" fmla="*/ 3071215 h 6308281"/>
              <a:gd name="connsiteX0" fmla="*/ 70 w 6354386"/>
              <a:gd name="connsiteY0" fmla="*/ 3058194 h 6295256"/>
              <a:gd name="connsiteX1" fmla="*/ 4485710 w 6354386"/>
              <a:gd name="connsiteY1" fmla="*/ 4652 h 6295256"/>
              <a:gd name="connsiteX2" fmla="*/ 5482492 w 6354386"/>
              <a:gd name="connsiteY2" fmla="*/ 3104858 h 6295256"/>
              <a:gd name="connsiteX3" fmla="*/ 4485710 w 6354386"/>
              <a:gd name="connsiteY3" fmla="*/ 6294616 h 6295256"/>
              <a:gd name="connsiteX4" fmla="*/ 70 w 6354386"/>
              <a:gd name="connsiteY4" fmla="*/ 3058194 h 6295256"/>
              <a:gd name="connsiteX0" fmla="*/ 36 w 5971709"/>
              <a:gd name="connsiteY0" fmla="*/ 3058194 h 6297600"/>
              <a:gd name="connsiteX1" fmla="*/ 4485676 w 5971709"/>
              <a:gd name="connsiteY1" fmla="*/ 4652 h 6297600"/>
              <a:gd name="connsiteX2" fmla="*/ 5482458 w 5971709"/>
              <a:gd name="connsiteY2" fmla="*/ 3104858 h 6297600"/>
              <a:gd name="connsiteX3" fmla="*/ 4485676 w 5971709"/>
              <a:gd name="connsiteY3" fmla="*/ 6294616 h 6297600"/>
              <a:gd name="connsiteX4" fmla="*/ 36 w 5971709"/>
              <a:gd name="connsiteY4" fmla="*/ 3058194 h 6297600"/>
              <a:gd name="connsiteX0" fmla="*/ 36 w 6809177"/>
              <a:gd name="connsiteY0" fmla="*/ 3058194 h 6297604"/>
              <a:gd name="connsiteX1" fmla="*/ 4485676 w 6809177"/>
              <a:gd name="connsiteY1" fmla="*/ 4652 h 6297604"/>
              <a:gd name="connsiteX2" fmla="*/ 5482458 w 6809177"/>
              <a:gd name="connsiteY2" fmla="*/ 3104858 h 6297604"/>
              <a:gd name="connsiteX3" fmla="*/ 4485676 w 6809177"/>
              <a:gd name="connsiteY3" fmla="*/ 6294616 h 6297604"/>
              <a:gd name="connsiteX4" fmla="*/ 36 w 6809177"/>
              <a:gd name="connsiteY4" fmla="*/ 3058194 h 6297604"/>
              <a:gd name="connsiteX0" fmla="*/ 36 w 6809177"/>
              <a:gd name="connsiteY0" fmla="*/ 3058194 h 6297600"/>
              <a:gd name="connsiteX1" fmla="*/ 4485676 w 6809177"/>
              <a:gd name="connsiteY1" fmla="*/ 4652 h 6297600"/>
              <a:gd name="connsiteX2" fmla="*/ 5482458 w 6809177"/>
              <a:gd name="connsiteY2" fmla="*/ 3104858 h 6297600"/>
              <a:gd name="connsiteX3" fmla="*/ 4485676 w 6809177"/>
              <a:gd name="connsiteY3" fmla="*/ 6294616 h 6297600"/>
              <a:gd name="connsiteX4" fmla="*/ 36 w 6809177"/>
              <a:gd name="connsiteY4" fmla="*/ 3058194 h 6297600"/>
              <a:gd name="connsiteX0" fmla="*/ 36 w 6809177"/>
              <a:gd name="connsiteY0" fmla="*/ 3058194 h 6297604"/>
              <a:gd name="connsiteX1" fmla="*/ 4485676 w 6809177"/>
              <a:gd name="connsiteY1" fmla="*/ 4652 h 6297604"/>
              <a:gd name="connsiteX2" fmla="*/ 5482458 w 6809177"/>
              <a:gd name="connsiteY2" fmla="*/ 3104858 h 6297604"/>
              <a:gd name="connsiteX3" fmla="*/ 4485676 w 6809177"/>
              <a:gd name="connsiteY3" fmla="*/ 6294616 h 6297604"/>
              <a:gd name="connsiteX4" fmla="*/ 36 w 6809177"/>
              <a:gd name="connsiteY4" fmla="*/ 3058194 h 6297604"/>
              <a:gd name="connsiteX0" fmla="*/ 36 w 6025198"/>
              <a:gd name="connsiteY0" fmla="*/ 3058194 h 6297600"/>
              <a:gd name="connsiteX1" fmla="*/ 4485676 w 6025198"/>
              <a:gd name="connsiteY1" fmla="*/ 4652 h 6297600"/>
              <a:gd name="connsiteX2" fmla="*/ 5482458 w 6025198"/>
              <a:gd name="connsiteY2" fmla="*/ 3104858 h 6297600"/>
              <a:gd name="connsiteX3" fmla="*/ 4485676 w 6025198"/>
              <a:gd name="connsiteY3" fmla="*/ 6294616 h 6297600"/>
              <a:gd name="connsiteX4" fmla="*/ 36 w 6025198"/>
              <a:gd name="connsiteY4" fmla="*/ 3058194 h 6297600"/>
              <a:gd name="connsiteX0" fmla="*/ 36 w 5839232"/>
              <a:gd name="connsiteY0" fmla="*/ 3239014 h 6478424"/>
              <a:gd name="connsiteX1" fmla="*/ 4485676 w 5839232"/>
              <a:gd name="connsiteY1" fmla="*/ 185472 h 6478424"/>
              <a:gd name="connsiteX2" fmla="*/ 5700845 w 5839232"/>
              <a:gd name="connsiteY2" fmla="*/ 657416 h 6478424"/>
              <a:gd name="connsiteX3" fmla="*/ 5482458 w 5839232"/>
              <a:gd name="connsiteY3" fmla="*/ 3285678 h 6478424"/>
              <a:gd name="connsiteX4" fmla="*/ 4485676 w 5839232"/>
              <a:gd name="connsiteY4" fmla="*/ 6475436 h 6478424"/>
              <a:gd name="connsiteX5" fmla="*/ 36 w 5839232"/>
              <a:gd name="connsiteY5" fmla="*/ 3239014 h 6478424"/>
              <a:gd name="connsiteX0" fmla="*/ 36 w 6850287"/>
              <a:gd name="connsiteY0" fmla="*/ 3203672 h 6443078"/>
              <a:gd name="connsiteX1" fmla="*/ 4485676 w 6850287"/>
              <a:gd name="connsiteY1" fmla="*/ 150130 h 6443078"/>
              <a:gd name="connsiteX2" fmla="*/ 6833683 w 6850287"/>
              <a:gd name="connsiteY2" fmla="*/ 756402 h 6443078"/>
              <a:gd name="connsiteX3" fmla="*/ 5482458 w 6850287"/>
              <a:gd name="connsiteY3" fmla="*/ 3250336 h 6443078"/>
              <a:gd name="connsiteX4" fmla="*/ 4485676 w 6850287"/>
              <a:gd name="connsiteY4" fmla="*/ 6440094 h 6443078"/>
              <a:gd name="connsiteX5" fmla="*/ 36 w 6850287"/>
              <a:gd name="connsiteY5" fmla="*/ 3203672 h 6443078"/>
              <a:gd name="connsiteX0" fmla="*/ 36 w 6848100"/>
              <a:gd name="connsiteY0" fmla="*/ 3203672 h 6624084"/>
              <a:gd name="connsiteX1" fmla="*/ 4485676 w 6848100"/>
              <a:gd name="connsiteY1" fmla="*/ 150130 h 6624084"/>
              <a:gd name="connsiteX2" fmla="*/ 6833683 w 6848100"/>
              <a:gd name="connsiteY2" fmla="*/ 756402 h 6624084"/>
              <a:gd name="connsiteX3" fmla="*/ 5482458 w 6848100"/>
              <a:gd name="connsiteY3" fmla="*/ 3250336 h 6624084"/>
              <a:gd name="connsiteX4" fmla="*/ 5651590 w 6848100"/>
              <a:gd name="connsiteY4" fmla="*/ 5905682 h 6624084"/>
              <a:gd name="connsiteX5" fmla="*/ 4485676 w 6848100"/>
              <a:gd name="connsiteY5" fmla="*/ 6440094 h 6624084"/>
              <a:gd name="connsiteX6" fmla="*/ 36 w 6848100"/>
              <a:gd name="connsiteY6" fmla="*/ 3203672 h 6624084"/>
              <a:gd name="connsiteX0" fmla="*/ 23 w 6993245"/>
              <a:gd name="connsiteY0" fmla="*/ 3203672 h 6563767"/>
              <a:gd name="connsiteX1" fmla="*/ 4485663 w 6993245"/>
              <a:gd name="connsiteY1" fmla="*/ 150130 h 6563767"/>
              <a:gd name="connsiteX2" fmla="*/ 6833670 w 6993245"/>
              <a:gd name="connsiteY2" fmla="*/ 756402 h 6563767"/>
              <a:gd name="connsiteX3" fmla="*/ 5482445 w 6993245"/>
              <a:gd name="connsiteY3" fmla="*/ 3250336 h 6563767"/>
              <a:gd name="connsiteX4" fmla="*/ 6981432 w 6993245"/>
              <a:gd name="connsiteY4" fmla="*/ 5637024 h 6563767"/>
              <a:gd name="connsiteX5" fmla="*/ 4485663 w 6993245"/>
              <a:gd name="connsiteY5" fmla="*/ 6440094 h 6563767"/>
              <a:gd name="connsiteX6" fmla="*/ 23 w 6993245"/>
              <a:gd name="connsiteY6" fmla="*/ 3203672 h 6563767"/>
              <a:gd name="connsiteX0" fmla="*/ 10512 w 7003734"/>
              <a:gd name="connsiteY0" fmla="*/ 3166624 h 6526719"/>
              <a:gd name="connsiteX1" fmla="*/ 3363309 w 7003734"/>
              <a:gd name="connsiteY1" fmla="*/ 157861 h 6526719"/>
              <a:gd name="connsiteX2" fmla="*/ 6844159 w 7003734"/>
              <a:gd name="connsiteY2" fmla="*/ 719354 h 6526719"/>
              <a:gd name="connsiteX3" fmla="*/ 5492934 w 7003734"/>
              <a:gd name="connsiteY3" fmla="*/ 3213288 h 6526719"/>
              <a:gd name="connsiteX4" fmla="*/ 6991921 w 7003734"/>
              <a:gd name="connsiteY4" fmla="*/ 5599976 h 6526719"/>
              <a:gd name="connsiteX5" fmla="*/ 4496152 w 7003734"/>
              <a:gd name="connsiteY5" fmla="*/ 6403046 h 6526719"/>
              <a:gd name="connsiteX6" fmla="*/ 10512 w 7003734"/>
              <a:gd name="connsiteY6" fmla="*/ 3166624 h 6526719"/>
              <a:gd name="connsiteX0" fmla="*/ 16831 w 7010053"/>
              <a:gd name="connsiteY0" fmla="*/ 3147324 h 6507419"/>
              <a:gd name="connsiteX1" fmla="*/ 3369628 w 7010053"/>
              <a:gd name="connsiteY1" fmla="*/ 138561 h 6507419"/>
              <a:gd name="connsiteX2" fmla="*/ 6850478 w 7010053"/>
              <a:gd name="connsiteY2" fmla="*/ 700054 h 6507419"/>
              <a:gd name="connsiteX3" fmla="*/ 5499253 w 7010053"/>
              <a:gd name="connsiteY3" fmla="*/ 3193988 h 6507419"/>
              <a:gd name="connsiteX4" fmla="*/ 6998240 w 7010053"/>
              <a:gd name="connsiteY4" fmla="*/ 5580676 h 6507419"/>
              <a:gd name="connsiteX5" fmla="*/ 4502471 w 7010053"/>
              <a:gd name="connsiteY5" fmla="*/ 6383746 h 6507419"/>
              <a:gd name="connsiteX6" fmla="*/ 16831 w 7010053"/>
              <a:gd name="connsiteY6" fmla="*/ 3147324 h 6507419"/>
              <a:gd name="connsiteX0" fmla="*/ 14 w 6993236"/>
              <a:gd name="connsiteY0" fmla="*/ 3147324 h 6507419"/>
              <a:gd name="connsiteX1" fmla="*/ 3352811 w 6993236"/>
              <a:gd name="connsiteY1" fmla="*/ 138561 h 6507419"/>
              <a:gd name="connsiteX2" fmla="*/ 6833661 w 6993236"/>
              <a:gd name="connsiteY2" fmla="*/ 700054 h 6507419"/>
              <a:gd name="connsiteX3" fmla="*/ 5482436 w 6993236"/>
              <a:gd name="connsiteY3" fmla="*/ 3193988 h 6507419"/>
              <a:gd name="connsiteX4" fmla="*/ 6981423 w 6993236"/>
              <a:gd name="connsiteY4" fmla="*/ 5580676 h 6507419"/>
              <a:gd name="connsiteX5" fmla="*/ 4485654 w 6993236"/>
              <a:gd name="connsiteY5" fmla="*/ 6383746 h 6507419"/>
              <a:gd name="connsiteX6" fmla="*/ 14 w 6993236"/>
              <a:gd name="connsiteY6" fmla="*/ 3147324 h 6507419"/>
              <a:gd name="connsiteX0" fmla="*/ 13 w 6993236"/>
              <a:gd name="connsiteY0" fmla="*/ 3502681 h 6528885"/>
              <a:gd name="connsiteX1" fmla="*/ 3352811 w 6993236"/>
              <a:gd name="connsiteY1" fmla="*/ 180484 h 6528885"/>
              <a:gd name="connsiteX2" fmla="*/ 6833661 w 6993236"/>
              <a:gd name="connsiteY2" fmla="*/ 741977 h 6528885"/>
              <a:gd name="connsiteX3" fmla="*/ 5482436 w 6993236"/>
              <a:gd name="connsiteY3" fmla="*/ 3235911 h 6528885"/>
              <a:gd name="connsiteX4" fmla="*/ 6981423 w 6993236"/>
              <a:gd name="connsiteY4" fmla="*/ 5622599 h 6528885"/>
              <a:gd name="connsiteX5" fmla="*/ 4485654 w 6993236"/>
              <a:gd name="connsiteY5" fmla="*/ 6425669 h 6528885"/>
              <a:gd name="connsiteX6" fmla="*/ 13 w 6993236"/>
              <a:gd name="connsiteY6" fmla="*/ 3502681 h 6528885"/>
              <a:gd name="connsiteX0" fmla="*/ 17 w 6993240"/>
              <a:gd name="connsiteY0" fmla="*/ 3502681 h 6429090"/>
              <a:gd name="connsiteX1" fmla="*/ 3352815 w 6993240"/>
              <a:gd name="connsiteY1" fmla="*/ 180484 h 6429090"/>
              <a:gd name="connsiteX2" fmla="*/ 6833665 w 6993240"/>
              <a:gd name="connsiteY2" fmla="*/ 741977 h 6429090"/>
              <a:gd name="connsiteX3" fmla="*/ 5482440 w 6993240"/>
              <a:gd name="connsiteY3" fmla="*/ 3235911 h 6429090"/>
              <a:gd name="connsiteX4" fmla="*/ 6981427 w 6993240"/>
              <a:gd name="connsiteY4" fmla="*/ 5622599 h 6429090"/>
              <a:gd name="connsiteX5" fmla="*/ 4485658 w 6993240"/>
              <a:gd name="connsiteY5" fmla="*/ 6425669 h 6429090"/>
              <a:gd name="connsiteX6" fmla="*/ 17 w 6993240"/>
              <a:gd name="connsiteY6" fmla="*/ 3502681 h 6429090"/>
              <a:gd name="connsiteX0" fmla="*/ 17 w 6987563"/>
              <a:gd name="connsiteY0" fmla="*/ 3502681 h 6448456"/>
              <a:gd name="connsiteX1" fmla="*/ 3352815 w 6987563"/>
              <a:gd name="connsiteY1" fmla="*/ 180484 h 6448456"/>
              <a:gd name="connsiteX2" fmla="*/ 6833665 w 6987563"/>
              <a:gd name="connsiteY2" fmla="*/ 741977 h 6448456"/>
              <a:gd name="connsiteX3" fmla="*/ 5482440 w 6987563"/>
              <a:gd name="connsiteY3" fmla="*/ 3235911 h 6448456"/>
              <a:gd name="connsiteX4" fmla="*/ 6981427 w 6987563"/>
              <a:gd name="connsiteY4" fmla="*/ 5622599 h 6448456"/>
              <a:gd name="connsiteX5" fmla="*/ 4485658 w 6987563"/>
              <a:gd name="connsiteY5" fmla="*/ 6425669 h 6448456"/>
              <a:gd name="connsiteX6" fmla="*/ 17 w 6987563"/>
              <a:gd name="connsiteY6" fmla="*/ 3502681 h 6448456"/>
              <a:gd name="connsiteX0" fmla="*/ 17 w 6987563"/>
              <a:gd name="connsiteY0" fmla="*/ 3502681 h 6488940"/>
              <a:gd name="connsiteX1" fmla="*/ 3352815 w 6987563"/>
              <a:gd name="connsiteY1" fmla="*/ 180484 h 6488940"/>
              <a:gd name="connsiteX2" fmla="*/ 6833665 w 6987563"/>
              <a:gd name="connsiteY2" fmla="*/ 741977 h 6488940"/>
              <a:gd name="connsiteX3" fmla="*/ 5482440 w 6987563"/>
              <a:gd name="connsiteY3" fmla="*/ 3235911 h 6488940"/>
              <a:gd name="connsiteX4" fmla="*/ 6981427 w 6987563"/>
              <a:gd name="connsiteY4" fmla="*/ 5130062 h 6488940"/>
              <a:gd name="connsiteX5" fmla="*/ 4485658 w 6987563"/>
              <a:gd name="connsiteY5" fmla="*/ 6425669 h 6488940"/>
              <a:gd name="connsiteX6" fmla="*/ 17 w 6987563"/>
              <a:gd name="connsiteY6" fmla="*/ 3502681 h 6488940"/>
              <a:gd name="connsiteX0" fmla="*/ 17 w 6987563"/>
              <a:gd name="connsiteY0" fmla="*/ 3502681 h 6488940"/>
              <a:gd name="connsiteX1" fmla="*/ 3352815 w 6987563"/>
              <a:gd name="connsiteY1" fmla="*/ 180484 h 6488940"/>
              <a:gd name="connsiteX2" fmla="*/ 6833665 w 6987563"/>
              <a:gd name="connsiteY2" fmla="*/ 741977 h 6488940"/>
              <a:gd name="connsiteX3" fmla="*/ 5482440 w 6987563"/>
              <a:gd name="connsiteY3" fmla="*/ 3235911 h 6488940"/>
              <a:gd name="connsiteX4" fmla="*/ 6981427 w 6987563"/>
              <a:gd name="connsiteY4" fmla="*/ 5130062 h 6488940"/>
              <a:gd name="connsiteX5" fmla="*/ 4485658 w 6987563"/>
              <a:gd name="connsiteY5" fmla="*/ 6425669 h 6488940"/>
              <a:gd name="connsiteX6" fmla="*/ 17 w 6987563"/>
              <a:gd name="connsiteY6" fmla="*/ 3502681 h 6488940"/>
              <a:gd name="connsiteX0" fmla="*/ 17 w 6987563"/>
              <a:gd name="connsiteY0" fmla="*/ 3627049 h 6613308"/>
              <a:gd name="connsiteX1" fmla="*/ 3352815 w 6987563"/>
              <a:gd name="connsiteY1" fmla="*/ 304852 h 6613308"/>
              <a:gd name="connsiteX2" fmla="*/ 6833665 w 6987563"/>
              <a:gd name="connsiteY2" fmla="*/ 866345 h 6613308"/>
              <a:gd name="connsiteX3" fmla="*/ 5482440 w 6987563"/>
              <a:gd name="connsiteY3" fmla="*/ 3360279 h 6613308"/>
              <a:gd name="connsiteX4" fmla="*/ 6981427 w 6987563"/>
              <a:gd name="connsiteY4" fmla="*/ 5254430 h 6613308"/>
              <a:gd name="connsiteX5" fmla="*/ 4485658 w 6987563"/>
              <a:gd name="connsiteY5" fmla="*/ 6550037 h 6613308"/>
              <a:gd name="connsiteX6" fmla="*/ 17 w 6987563"/>
              <a:gd name="connsiteY6" fmla="*/ 3627049 h 6613308"/>
              <a:gd name="connsiteX0" fmla="*/ 17 w 6987623"/>
              <a:gd name="connsiteY0" fmla="*/ 3487304 h 6473563"/>
              <a:gd name="connsiteX1" fmla="*/ 3352815 w 6987623"/>
              <a:gd name="connsiteY1" fmla="*/ 165107 h 6473563"/>
              <a:gd name="connsiteX2" fmla="*/ 6735155 w 6987623"/>
              <a:gd name="connsiteY2" fmla="*/ 1129586 h 6473563"/>
              <a:gd name="connsiteX3" fmla="*/ 5482440 w 6987623"/>
              <a:gd name="connsiteY3" fmla="*/ 3220534 h 6473563"/>
              <a:gd name="connsiteX4" fmla="*/ 6981427 w 6987623"/>
              <a:gd name="connsiteY4" fmla="*/ 5114685 h 6473563"/>
              <a:gd name="connsiteX5" fmla="*/ 4485658 w 6987623"/>
              <a:gd name="connsiteY5" fmla="*/ 6410292 h 6473563"/>
              <a:gd name="connsiteX6" fmla="*/ 17 w 6987623"/>
              <a:gd name="connsiteY6" fmla="*/ 3487304 h 6473563"/>
              <a:gd name="connsiteX0" fmla="*/ 549 w 6988155"/>
              <a:gd name="connsiteY0" fmla="*/ 3487304 h 6473563"/>
              <a:gd name="connsiteX1" fmla="*/ 3353347 w 6988155"/>
              <a:gd name="connsiteY1" fmla="*/ 165107 h 6473563"/>
              <a:gd name="connsiteX2" fmla="*/ 6735687 w 6988155"/>
              <a:gd name="connsiteY2" fmla="*/ 1129586 h 6473563"/>
              <a:gd name="connsiteX3" fmla="*/ 5482972 w 6988155"/>
              <a:gd name="connsiteY3" fmla="*/ 3220534 h 6473563"/>
              <a:gd name="connsiteX4" fmla="*/ 6981959 w 6988155"/>
              <a:gd name="connsiteY4" fmla="*/ 5114685 h 6473563"/>
              <a:gd name="connsiteX5" fmla="*/ 4486190 w 6988155"/>
              <a:gd name="connsiteY5" fmla="*/ 6410292 h 6473563"/>
              <a:gd name="connsiteX6" fmla="*/ 549 w 6988155"/>
              <a:gd name="connsiteY6" fmla="*/ 3487304 h 6473563"/>
              <a:gd name="connsiteX0" fmla="*/ 549 w 6988155"/>
              <a:gd name="connsiteY0" fmla="*/ 3598078 h 6584337"/>
              <a:gd name="connsiteX1" fmla="*/ 3353347 w 6988155"/>
              <a:gd name="connsiteY1" fmla="*/ 275881 h 6584337"/>
              <a:gd name="connsiteX2" fmla="*/ 6735687 w 6988155"/>
              <a:gd name="connsiteY2" fmla="*/ 1240360 h 6584337"/>
              <a:gd name="connsiteX3" fmla="*/ 5482972 w 6988155"/>
              <a:gd name="connsiteY3" fmla="*/ 3331308 h 6584337"/>
              <a:gd name="connsiteX4" fmla="*/ 6981959 w 6988155"/>
              <a:gd name="connsiteY4" fmla="*/ 5225459 h 6584337"/>
              <a:gd name="connsiteX5" fmla="*/ 4486190 w 6988155"/>
              <a:gd name="connsiteY5" fmla="*/ 6521066 h 6584337"/>
              <a:gd name="connsiteX6" fmla="*/ 549 w 6988155"/>
              <a:gd name="connsiteY6" fmla="*/ 3598078 h 6584337"/>
              <a:gd name="connsiteX0" fmla="*/ 549 w 7015093"/>
              <a:gd name="connsiteY0" fmla="*/ 3423563 h 6390813"/>
              <a:gd name="connsiteX1" fmla="*/ 3353347 w 7015093"/>
              <a:gd name="connsiteY1" fmla="*/ 101366 h 6390813"/>
              <a:gd name="connsiteX2" fmla="*/ 6735687 w 7015093"/>
              <a:gd name="connsiteY2" fmla="*/ 1065845 h 6390813"/>
              <a:gd name="connsiteX3" fmla="*/ 5970585 w 7015093"/>
              <a:gd name="connsiteY3" fmla="*/ 3201566 h 6390813"/>
              <a:gd name="connsiteX4" fmla="*/ 6981959 w 7015093"/>
              <a:gd name="connsiteY4" fmla="*/ 5050944 h 6390813"/>
              <a:gd name="connsiteX5" fmla="*/ 4486190 w 7015093"/>
              <a:gd name="connsiteY5" fmla="*/ 6346551 h 6390813"/>
              <a:gd name="connsiteX6" fmla="*/ 549 w 7015093"/>
              <a:gd name="connsiteY6" fmla="*/ 3423563 h 6390813"/>
              <a:gd name="connsiteX0" fmla="*/ 549 w 7016394"/>
              <a:gd name="connsiteY0" fmla="*/ 3423563 h 6390813"/>
              <a:gd name="connsiteX1" fmla="*/ 3353347 w 7016394"/>
              <a:gd name="connsiteY1" fmla="*/ 101366 h 6390813"/>
              <a:gd name="connsiteX2" fmla="*/ 6735687 w 7016394"/>
              <a:gd name="connsiteY2" fmla="*/ 1065845 h 6390813"/>
              <a:gd name="connsiteX3" fmla="*/ 5970585 w 7016394"/>
              <a:gd name="connsiteY3" fmla="*/ 3201566 h 6390813"/>
              <a:gd name="connsiteX4" fmla="*/ 6981959 w 7016394"/>
              <a:gd name="connsiteY4" fmla="*/ 5050944 h 6390813"/>
              <a:gd name="connsiteX5" fmla="*/ 4486190 w 7016394"/>
              <a:gd name="connsiteY5" fmla="*/ 6346551 h 6390813"/>
              <a:gd name="connsiteX6" fmla="*/ 549 w 7016394"/>
              <a:gd name="connsiteY6" fmla="*/ 3423563 h 6390813"/>
              <a:gd name="connsiteX0" fmla="*/ 549 w 7016394"/>
              <a:gd name="connsiteY0" fmla="*/ 3573907 h 6541157"/>
              <a:gd name="connsiteX1" fmla="*/ 3353347 w 7016394"/>
              <a:gd name="connsiteY1" fmla="*/ 251710 h 6541157"/>
              <a:gd name="connsiteX2" fmla="*/ 6735687 w 7016394"/>
              <a:gd name="connsiteY2" fmla="*/ 1216189 h 6541157"/>
              <a:gd name="connsiteX3" fmla="*/ 5970585 w 7016394"/>
              <a:gd name="connsiteY3" fmla="*/ 3351910 h 6541157"/>
              <a:gd name="connsiteX4" fmla="*/ 6981959 w 7016394"/>
              <a:gd name="connsiteY4" fmla="*/ 5201288 h 6541157"/>
              <a:gd name="connsiteX5" fmla="*/ 4486190 w 7016394"/>
              <a:gd name="connsiteY5" fmla="*/ 6496895 h 6541157"/>
              <a:gd name="connsiteX6" fmla="*/ 549 w 7016394"/>
              <a:gd name="connsiteY6" fmla="*/ 3573907 h 6541157"/>
              <a:gd name="connsiteX0" fmla="*/ 549 w 6987059"/>
              <a:gd name="connsiteY0" fmla="*/ 3573907 h 6585834"/>
              <a:gd name="connsiteX1" fmla="*/ 3353347 w 6987059"/>
              <a:gd name="connsiteY1" fmla="*/ 251710 h 6585834"/>
              <a:gd name="connsiteX2" fmla="*/ 6735687 w 6987059"/>
              <a:gd name="connsiteY2" fmla="*/ 1216189 h 6585834"/>
              <a:gd name="connsiteX3" fmla="*/ 5970585 w 6987059"/>
              <a:gd name="connsiteY3" fmla="*/ 3351910 h 6585834"/>
              <a:gd name="connsiteX4" fmla="*/ 6981959 w 6987059"/>
              <a:gd name="connsiteY4" fmla="*/ 5201288 h 6585834"/>
              <a:gd name="connsiteX5" fmla="*/ 4486190 w 6987059"/>
              <a:gd name="connsiteY5" fmla="*/ 6496895 h 6585834"/>
              <a:gd name="connsiteX6" fmla="*/ 549 w 6987059"/>
              <a:gd name="connsiteY6" fmla="*/ 3573907 h 6585834"/>
              <a:gd name="connsiteX0" fmla="*/ 549 w 6987059"/>
              <a:gd name="connsiteY0" fmla="*/ 3573907 h 6568240"/>
              <a:gd name="connsiteX1" fmla="*/ 3353347 w 6987059"/>
              <a:gd name="connsiteY1" fmla="*/ 251710 h 6568240"/>
              <a:gd name="connsiteX2" fmla="*/ 6735687 w 6987059"/>
              <a:gd name="connsiteY2" fmla="*/ 1216189 h 6568240"/>
              <a:gd name="connsiteX3" fmla="*/ 5970585 w 6987059"/>
              <a:gd name="connsiteY3" fmla="*/ 3351910 h 6568240"/>
              <a:gd name="connsiteX4" fmla="*/ 6981959 w 6987059"/>
              <a:gd name="connsiteY4" fmla="*/ 5201288 h 6568240"/>
              <a:gd name="connsiteX5" fmla="*/ 4486190 w 6987059"/>
              <a:gd name="connsiteY5" fmla="*/ 6496895 h 6568240"/>
              <a:gd name="connsiteX6" fmla="*/ 549 w 6987059"/>
              <a:gd name="connsiteY6" fmla="*/ 3573907 h 6568240"/>
              <a:gd name="connsiteX0" fmla="*/ 25 w 7065327"/>
              <a:gd name="connsiteY0" fmla="*/ 3573907 h 6529799"/>
              <a:gd name="connsiteX1" fmla="*/ 3352823 w 7065327"/>
              <a:gd name="connsiteY1" fmla="*/ 251710 h 6529799"/>
              <a:gd name="connsiteX2" fmla="*/ 6735163 w 7065327"/>
              <a:gd name="connsiteY2" fmla="*/ 1216189 h 6529799"/>
              <a:gd name="connsiteX3" fmla="*/ 5970061 w 7065327"/>
              <a:gd name="connsiteY3" fmla="*/ 3351910 h 6529799"/>
              <a:gd name="connsiteX4" fmla="*/ 6981435 w 7065327"/>
              <a:gd name="connsiteY4" fmla="*/ 5201288 h 6529799"/>
              <a:gd name="connsiteX5" fmla="*/ 3402078 w 7065327"/>
              <a:gd name="connsiteY5" fmla="*/ 6496894 h 6529799"/>
              <a:gd name="connsiteX6" fmla="*/ 25 w 7065327"/>
              <a:gd name="connsiteY6" fmla="*/ 3573907 h 6529799"/>
              <a:gd name="connsiteX0" fmla="*/ 25 w 7065327"/>
              <a:gd name="connsiteY0" fmla="*/ 3573907 h 6529799"/>
              <a:gd name="connsiteX1" fmla="*/ 3352823 w 7065327"/>
              <a:gd name="connsiteY1" fmla="*/ 251710 h 6529799"/>
              <a:gd name="connsiteX2" fmla="*/ 6735163 w 7065327"/>
              <a:gd name="connsiteY2" fmla="*/ 1216189 h 6529799"/>
              <a:gd name="connsiteX3" fmla="*/ 5970061 w 7065327"/>
              <a:gd name="connsiteY3" fmla="*/ 3351910 h 6529799"/>
              <a:gd name="connsiteX4" fmla="*/ 6981435 w 7065327"/>
              <a:gd name="connsiteY4" fmla="*/ 5201288 h 6529799"/>
              <a:gd name="connsiteX5" fmla="*/ 3402078 w 7065327"/>
              <a:gd name="connsiteY5" fmla="*/ 6496894 h 6529799"/>
              <a:gd name="connsiteX6" fmla="*/ 25 w 7065327"/>
              <a:gd name="connsiteY6" fmla="*/ 3573907 h 6529799"/>
              <a:gd name="connsiteX0" fmla="*/ 23 w 7065327"/>
              <a:gd name="connsiteY0" fmla="*/ 3237501 h 6532619"/>
              <a:gd name="connsiteX1" fmla="*/ 3352823 w 7065327"/>
              <a:gd name="connsiteY1" fmla="*/ 228735 h 6532619"/>
              <a:gd name="connsiteX2" fmla="*/ 6735163 w 7065327"/>
              <a:gd name="connsiteY2" fmla="*/ 1193214 h 6532619"/>
              <a:gd name="connsiteX3" fmla="*/ 5970061 w 7065327"/>
              <a:gd name="connsiteY3" fmla="*/ 3328935 h 6532619"/>
              <a:gd name="connsiteX4" fmla="*/ 6981435 w 7065327"/>
              <a:gd name="connsiteY4" fmla="*/ 5178313 h 6532619"/>
              <a:gd name="connsiteX5" fmla="*/ 3402078 w 7065327"/>
              <a:gd name="connsiteY5" fmla="*/ 6473919 h 6532619"/>
              <a:gd name="connsiteX6" fmla="*/ 23 w 7065327"/>
              <a:gd name="connsiteY6" fmla="*/ 3237501 h 6532619"/>
              <a:gd name="connsiteX0" fmla="*/ 23 w 7118239"/>
              <a:gd name="connsiteY0" fmla="*/ 3237501 h 6551555"/>
              <a:gd name="connsiteX1" fmla="*/ 3352823 w 7118239"/>
              <a:gd name="connsiteY1" fmla="*/ 228735 h 6551555"/>
              <a:gd name="connsiteX2" fmla="*/ 6735163 w 7118239"/>
              <a:gd name="connsiteY2" fmla="*/ 1193214 h 6551555"/>
              <a:gd name="connsiteX3" fmla="*/ 5970061 w 7118239"/>
              <a:gd name="connsiteY3" fmla="*/ 3328935 h 6551555"/>
              <a:gd name="connsiteX4" fmla="*/ 6981435 w 7118239"/>
              <a:gd name="connsiteY4" fmla="*/ 5178313 h 6551555"/>
              <a:gd name="connsiteX5" fmla="*/ 3402078 w 7118239"/>
              <a:gd name="connsiteY5" fmla="*/ 6473919 h 6551555"/>
              <a:gd name="connsiteX6" fmla="*/ 23 w 7118239"/>
              <a:gd name="connsiteY6" fmla="*/ 3237501 h 6551555"/>
              <a:gd name="connsiteX0" fmla="*/ 23 w 7118239"/>
              <a:gd name="connsiteY0" fmla="*/ 3158770 h 6472824"/>
              <a:gd name="connsiteX1" fmla="*/ 3352823 w 7118239"/>
              <a:gd name="connsiteY1" fmla="*/ 150004 h 6472824"/>
              <a:gd name="connsiteX2" fmla="*/ 6735163 w 7118239"/>
              <a:gd name="connsiteY2" fmla="*/ 1114483 h 6472824"/>
              <a:gd name="connsiteX3" fmla="*/ 5970061 w 7118239"/>
              <a:gd name="connsiteY3" fmla="*/ 3250204 h 6472824"/>
              <a:gd name="connsiteX4" fmla="*/ 6981435 w 7118239"/>
              <a:gd name="connsiteY4" fmla="*/ 5099582 h 6472824"/>
              <a:gd name="connsiteX5" fmla="*/ 3402078 w 7118239"/>
              <a:gd name="connsiteY5" fmla="*/ 6395188 h 6472824"/>
              <a:gd name="connsiteX6" fmla="*/ 23 w 7118239"/>
              <a:gd name="connsiteY6" fmla="*/ 3158770 h 6472824"/>
              <a:gd name="connsiteX0" fmla="*/ 23 w 7118239"/>
              <a:gd name="connsiteY0" fmla="*/ 3158766 h 6472820"/>
              <a:gd name="connsiteX1" fmla="*/ 3352823 w 7118239"/>
              <a:gd name="connsiteY1" fmla="*/ 150000 h 6472820"/>
              <a:gd name="connsiteX2" fmla="*/ 6735163 w 7118239"/>
              <a:gd name="connsiteY2" fmla="*/ 1114479 h 6472820"/>
              <a:gd name="connsiteX3" fmla="*/ 5970061 w 7118239"/>
              <a:gd name="connsiteY3" fmla="*/ 3250200 h 6472820"/>
              <a:gd name="connsiteX4" fmla="*/ 6981435 w 7118239"/>
              <a:gd name="connsiteY4" fmla="*/ 5099578 h 6472820"/>
              <a:gd name="connsiteX5" fmla="*/ 3402078 w 7118239"/>
              <a:gd name="connsiteY5" fmla="*/ 6395184 h 6472820"/>
              <a:gd name="connsiteX6" fmla="*/ 23 w 7118239"/>
              <a:gd name="connsiteY6" fmla="*/ 3158766 h 6472820"/>
              <a:gd name="connsiteX0" fmla="*/ 23 w 7118239"/>
              <a:gd name="connsiteY0" fmla="*/ 3158766 h 6472820"/>
              <a:gd name="connsiteX1" fmla="*/ 3352823 w 7118239"/>
              <a:gd name="connsiteY1" fmla="*/ 150000 h 6472820"/>
              <a:gd name="connsiteX2" fmla="*/ 6735163 w 7118239"/>
              <a:gd name="connsiteY2" fmla="*/ 1114479 h 6472820"/>
              <a:gd name="connsiteX3" fmla="*/ 5970061 w 7118239"/>
              <a:gd name="connsiteY3" fmla="*/ 3250200 h 6472820"/>
              <a:gd name="connsiteX4" fmla="*/ 6981435 w 7118239"/>
              <a:gd name="connsiteY4" fmla="*/ 5099578 h 6472820"/>
              <a:gd name="connsiteX5" fmla="*/ 3402078 w 7118239"/>
              <a:gd name="connsiteY5" fmla="*/ 6395184 h 6472820"/>
              <a:gd name="connsiteX6" fmla="*/ 23 w 7118239"/>
              <a:gd name="connsiteY6" fmla="*/ 3158766 h 6472820"/>
              <a:gd name="connsiteX0" fmla="*/ 23 w 7118239"/>
              <a:gd name="connsiteY0" fmla="*/ 3158766 h 6430008"/>
              <a:gd name="connsiteX1" fmla="*/ 3352823 w 7118239"/>
              <a:gd name="connsiteY1" fmla="*/ 150000 h 6430008"/>
              <a:gd name="connsiteX2" fmla="*/ 6735163 w 7118239"/>
              <a:gd name="connsiteY2" fmla="*/ 1114479 h 6430008"/>
              <a:gd name="connsiteX3" fmla="*/ 5970061 w 7118239"/>
              <a:gd name="connsiteY3" fmla="*/ 3250200 h 6430008"/>
              <a:gd name="connsiteX4" fmla="*/ 6981435 w 7118239"/>
              <a:gd name="connsiteY4" fmla="*/ 5099578 h 6430008"/>
              <a:gd name="connsiteX5" fmla="*/ 3402078 w 7118239"/>
              <a:gd name="connsiteY5" fmla="*/ 6395184 h 6430008"/>
              <a:gd name="connsiteX6" fmla="*/ 23 w 7118239"/>
              <a:gd name="connsiteY6" fmla="*/ 3158766 h 6430008"/>
              <a:gd name="connsiteX0" fmla="*/ 23 w 7118239"/>
              <a:gd name="connsiteY0" fmla="*/ 3008894 h 6280136"/>
              <a:gd name="connsiteX1" fmla="*/ 3352823 w 7118239"/>
              <a:gd name="connsiteY1" fmla="*/ 128 h 6280136"/>
              <a:gd name="connsiteX2" fmla="*/ 5970061 w 7118239"/>
              <a:gd name="connsiteY2" fmla="*/ 3100328 h 6280136"/>
              <a:gd name="connsiteX3" fmla="*/ 6981435 w 7118239"/>
              <a:gd name="connsiteY3" fmla="*/ 4949706 h 6280136"/>
              <a:gd name="connsiteX4" fmla="*/ 3402078 w 7118239"/>
              <a:gd name="connsiteY4" fmla="*/ 6245312 h 6280136"/>
              <a:gd name="connsiteX5" fmla="*/ 23 w 7118239"/>
              <a:gd name="connsiteY5" fmla="*/ 3008894 h 6280136"/>
              <a:gd name="connsiteX0" fmla="*/ 15737 w 7133953"/>
              <a:gd name="connsiteY0" fmla="*/ 3013053 h 6284295"/>
              <a:gd name="connsiteX1" fmla="*/ 3368537 w 7133953"/>
              <a:gd name="connsiteY1" fmla="*/ 4287 h 6284295"/>
              <a:gd name="connsiteX2" fmla="*/ 5985775 w 7133953"/>
              <a:gd name="connsiteY2" fmla="*/ 3104487 h 6284295"/>
              <a:gd name="connsiteX3" fmla="*/ 6997149 w 7133953"/>
              <a:gd name="connsiteY3" fmla="*/ 4953865 h 6284295"/>
              <a:gd name="connsiteX4" fmla="*/ 3417792 w 7133953"/>
              <a:gd name="connsiteY4" fmla="*/ 6249471 h 6284295"/>
              <a:gd name="connsiteX5" fmla="*/ 15737 w 7133953"/>
              <a:gd name="connsiteY5" fmla="*/ 3013053 h 6284295"/>
              <a:gd name="connsiteX0" fmla="*/ 15316 w 7152845"/>
              <a:gd name="connsiteY0" fmla="*/ 3236639 h 6507881"/>
              <a:gd name="connsiteX1" fmla="*/ 4885138 w 7152845"/>
              <a:gd name="connsiteY1" fmla="*/ 3988 h 6507881"/>
              <a:gd name="connsiteX2" fmla="*/ 5985354 w 7152845"/>
              <a:gd name="connsiteY2" fmla="*/ 3328073 h 6507881"/>
              <a:gd name="connsiteX3" fmla="*/ 6996728 w 7152845"/>
              <a:gd name="connsiteY3" fmla="*/ 5177451 h 6507881"/>
              <a:gd name="connsiteX4" fmla="*/ 3417371 w 7152845"/>
              <a:gd name="connsiteY4" fmla="*/ 6473057 h 6507881"/>
              <a:gd name="connsiteX5" fmla="*/ 15316 w 7152845"/>
              <a:gd name="connsiteY5" fmla="*/ 3236639 h 6507881"/>
              <a:gd name="connsiteX0" fmla="*/ 15316 w 7152845"/>
              <a:gd name="connsiteY0" fmla="*/ 3232732 h 6503974"/>
              <a:gd name="connsiteX1" fmla="*/ 4885138 w 7152845"/>
              <a:gd name="connsiteY1" fmla="*/ 81 h 6503974"/>
              <a:gd name="connsiteX2" fmla="*/ 5985354 w 7152845"/>
              <a:gd name="connsiteY2" fmla="*/ 3324166 h 6503974"/>
              <a:gd name="connsiteX3" fmla="*/ 6996728 w 7152845"/>
              <a:gd name="connsiteY3" fmla="*/ 5173544 h 6503974"/>
              <a:gd name="connsiteX4" fmla="*/ 3417371 w 7152845"/>
              <a:gd name="connsiteY4" fmla="*/ 6469150 h 6503974"/>
              <a:gd name="connsiteX5" fmla="*/ 15316 w 7152845"/>
              <a:gd name="connsiteY5" fmla="*/ 3232732 h 6503974"/>
              <a:gd name="connsiteX0" fmla="*/ 16566 w 6907236"/>
              <a:gd name="connsiteY0" fmla="*/ 3232732 h 6682067"/>
              <a:gd name="connsiteX1" fmla="*/ 4886388 w 6907236"/>
              <a:gd name="connsiteY1" fmla="*/ 81 h 6682067"/>
              <a:gd name="connsiteX2" fmla="*/ 5986604 w 6907236"/>
              <a:gd name="connsiteY2" fmla="*/ 3324166 h 6682067"/>
              <a:gd name="connsiteX3" fmla="*/ 6727080 w 6907236"/>
              <a:gd name="connsiteY3" fmla="*/ 5800415 h 6682067"/>
              <a:gd name="connsiteX4" fmla="*/ 3418621 w 6907236"/>
              <a:gd name="connsiteY4" fmla="*/ 6469150 h 6682067"/>
              <a:gd name="connsiteX5" fmla="*/ 16566 w 6907236"/>
              <a:gd name="connsiteY5" fmla="*/ 3232732 h 6682067"/>
              <a:gd name="connsiteX0" fmla="*/ 225 w 6890895"/>
              <a:gd name="connsiteY0" fmla="*/ 3232802 h 6682137"/>
              <a:gd name="connsiteX1" fmla="*/ 4870047 w 6890895"/>
              <a:gd name="connsiteY1" fmla="*/ 151 h 6682137"/>
              <a:gd name="connsiteX2" fmla="*/ 5970263 w 6890895"/>
              <a:gd name="connsiteY2" fmla="*/ 3324236 h 6682137"/>
              <a:gd name="connsiteX3" fmla="*/ 6710739 w 6890895"/>
              <a:gd name="connsiteY3" fmla="*/ 5800485 h 6682137"/>
              <a:gd name="connsiteX4" fmla="*/ 3402280 w 6890895"/>
              <a:gd name="connsiteY4" fmla="*/ 6469220 h 6682137"/>
              <a:gd name="connsiteX5" fmla="*/ 225 w 6890895"/>
              <a:gd name="connsiteY5" fmla="*/ 3232802 h 6682137"/>
              <a:gd name="connsiteX0" fmla="*/ 225 w 6890895"/>
              <a:gd name="connsiteY0" fmla="*/ 3232802 h 6562740"/>
              <a:gd name="connsiteX1" fmla="*/ 4870047 w 6890895"/>
              <a:gd name="connsiteY1" fmla="*/ 151 h 6562740"/>
              <a:gd name="connsiteX2" fmla="*/ 5970263 w 6890895"/>
              <a:gd name="connsiteY2" fmla="*/ 3324236 h 6562740"/>
              <a:gd name="connsiteX3" fmla="*/ 6710739 w 6890895"/>
              <a:gd name="connsiteY3" fmla="*/ 5800485 h 6562740"/>
              <a:gd name="connsiteX4" fmla="*/ 3402280 w 6890895"/>
              <a:gd name="connsiteY4" fmla="*/ 6469220 h 6562740"/>
              <a:gd name="connsiteX5" fmla="*/ 225 w 6890895"/>
              <a:gd name="connsiteY5" fmla="*/ 3232802 h 6562740"/>
              <a:gd name="connsiteX0" fmla="*/ 225 w 6807595"/>
              <a:gd name="connsiteY0" fmla="*/ 3232802 h 6519908"/>
              <a:gd name="connsiteX1" fmla="*/ 4870047 w 6807595"/>
              <a:gd name="connsiteY1" fmla="*/ 151 h 6519908"/>
              <a:gd name="connsiteX2" fmla="*/ 5970263 w 6807595"/>
              <a:gd name="connsiteY2" fmla="*/ 3324236 h 6519908"/>
              <a:gd name="connsiteX3" fmla="*/ 6710739 w 6807595"/>
              <a:gd name="connsiteY3" fmla="*/ 5800485 h 6519908"/>
              <a:gd name="connsiteX4" fmla="*/ 3402280 w 6807595"/>
              <a:gd name="connsiteY4" fmla="*/ 6469220 h 6519908"/>
              <a:gd name="connsiteX5" fmla="*/ 225 w 6807595"/>
              <a:gd name="connsiteY5" fmla="*/ 3232802 h 6519908"/>
              <a:gd name="connsiteX0" fmla="*/ 225 w 6803373"/>
              <a:gd name="connsiteY0" fmla="*/ 3232802 h 6519908"/>
              <a:gd name="connsiteX1" fmla="*/ 4870047 w 6803373"/>
              <a:gd name="connsiteY1" fmla="*/ 151 h 6519908"/>
              <a:gd name="connsiteX2" fmla="*/ 5970263 w 6803373"/>
              <a:gd name="connsiteY2" fmla="*/ 3324236 h 6519908"/>
              <a:gd name="connsiteX3" fmla="*/ 6710739 w 6803373"/>
              <a:gd name="connsiteY3" fmla="*/ 5800485 h 6519908"/>
              <a:gd name="connsiteX4" fmla="*/ 3402280 w 6803373"/>
              <a:gd name="connsiteY4" fmla="*/ 6469220 h 6519908"/>
              <a:gd name="connsiteX5" fmla="*/ 225 w 6803373"/>
              <a:gd name="connsiteY5" fmla="*/ 3232802 h 651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3373" h="6519908">
                <a:moveTo>
                  <a:pt x="225" y="3232802"/>
                </a:moveTo>
                <a:cubicBezTo>
                  <a:pt x="-26040" y="1124770"/>
                  <a:pt x="2249667" y="-15087"/>
                  <a:pt x="4870047" y="151"/>
                </a:cubicBezTo>
                <a:cubicBezTo>
                  <a:pt x="7490427" y="15389"/>
                  <a:pt x="5717664" y="2133633"/>
                  <a:pt x="5970263" y="3324236"/>
                </a:cubicBezTo>
                <a:cubicBezTo>
                  <a:pt x="6222862" y="4514839"/>
                  <a:pt x="7084560" y="5186767"/>
                  <a:pt x="6710739" y="5800485"/>
                </a:cubicBezTo>
                <a:cubicBezTo>
                  <a:pt x="6336918" y="6414203"/>
                  <a:pt x="4954134" y="6628508"/>
                  <a:pt x="3402280" y="6469220"/>
                </a:cubicBezTo>
                <a:cubicBezTo>
                  <a:pt x="1850426" y="6309932"/>
                  <a:pt x="26490" y="5340834"/>
                  <a:pt x="225" y="3232802"/>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1">
            <a:extLst>
              <a:ext uri="{FF2B5EF4-FFF2-40B4-BE49-F238E27FC236}">
                <a16:creationId xmlns:a16="http://schemas.microsoft.com/office/drawing/2014/main" id="{FDA2A077-2975-404F-BA78-9D0855ED9032}"/>
              </a:ext>
            </a:extLst>
          </p:cNvPr>
          <p:cNvSpPr/>
          <p:nvPr userDrawn="1"/>
        </p:nvSpPr>
        <p:spPr>
          <a:xfrm>
            <a:off x="7301526" y="2744348"/>
            <a:ext cx="1867127" cy="1823802"/>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8 w 7945220"/>
              <a:gd name="connsiteY0" fmla="*/ 3715196 h 7055325"/>
              <a:gd name="connsiteX1" fmla="*/ 4485668 w 7945220"/>
              <a:gd name="connsiteY1" fmla="*/ 661654 h 7055325"/>
              <a:gd name="connsiteX2" fmla="*/ 7945148 w 7945220"/>
              <a:gd name="connsiteY2" fmla="*/ 3806636 h 7055325"/>
              <a:gd name="connsiteX3" fmla="*/ 4485668 w 7945220"/>
              <a:gd name="connsiteY3" fmla="*/ 6951618 h 7055325"/>
              <a:gd name="connsiteX4" fmla="*/ 28 w 7945220"/>
              <a:gd name="connsiteY4" fmla="*/ 3715196 h 7055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20" h="7055325">
                <a:moveTo>
                  <a:pt x="28" y="3715196"/>
                </a:moveTo>
                <a:cubicBezTo>
                  <a:pt x="10188" y="1470270"/>
                  <a:pt x="2051614" y="-1286158"/>
                  <a:pt x="4485668" y="661654"/>
                </a:cubicBezTo>
                <a:cubicBezTo>
                  <a:pt x="6919722" y="2609466"/>
                  <a:pt x="7955308" y="2069710"/>
                  <a:pt x="7945148" y="3806636"/>
                </a:cubicBezTo>
                <a:cubicBezTo>
                  <a:pt x="7934988" y="5543562"/>
                  <a:pt x="6307695" y="6428378"/>
                  <a:pt x="4485668" y="6951618"/>
                </a:cubicBezTo>
                <a:cubicBezTo>
                  <a:pt x="2663641" y="7474858"/>
                  <a:pt x="-10132" y="5960122"/>
                  <a:pt x="28" y="3715196"/>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
            <a:extLst>
              <a:ext uri="{FF2B5EF4-FFF2-40B4-BE49-F238E27FC236}">
                <a16:creationId xmlns:a16="http://schemas.microsoft.com/office/drawing/2014/main" id="{5AAC75E4-166D-574A-99B4-4BE2F0881863}"/>
              </a:ext>
            </a:extLst>
          </p:cNvPr>
          <p:cNvSpPr/>
          <p:nvPr userDrawn="1"/>
        </p:nvSpPr>
        <p:spPr>
          <a:xfrm>
            <a:off x="9744773" y="2842955"/>
            <a:ext cx="2169251" cy="1626589"/>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84594 w 8229773"/>
              <a:gd name="connsiteY0" fmla="*/ 3136031 h 6433472"/>
              <a:gd name="connsiteX1" fmla="*/ 4770234 w 8229773"/>
              <a:gd name="connsiteY1" fmla="*/ 82489 h 6433472"/>
              <a:gd name="connsiteX2" fmla="*/ 8229714 w 8229773"/>
              <a:gd name="connsiteY2" fmla="*/ 3227471 h 6433472"/>
              <a:gd name="connsiteX3" fmla="*/ 4770234 w 8229773"/>
              <a:gd name="connsiteY3" fmla="*/ 6372453 h 6433472"/>
              <a:gd name="connsiteX4" fmla="*/ 284594 w 8229773"/>
              <a:gd name="connsiteY4" fmla="*/ 3136031 h 6433472"/>
              <a:gd name="connsiteX0" fmla="*/ 284594 w 8689126"/>
              <a:gd name="connsiteY0" fmla="*/ 3136031 h 6433472"/>
              <a:gd name="connsiteX1" fmla="*/ 4770234 w 8689126"/>
              <a:gd name="connsiteY1" fmla="*/ 82489 h 6433472"/>
              <a:gd name="connsiteX2" fmla="*/ 8229714 w 8689126"/>
              <a:gd name="connsiteY2" fmla="*/ 3227471 h 6433472"/>
              <a:gd name="connsiteX3" fmla="*/ 4770234 w 8689126"/>
              <a:gd name="connsiteY3" fmla="*/ 6372453 h 6433472"/>
              <a:gd name="connsiteX4" fmla="*/ 284594 w 8689126"/>
              <a:gd name="connsiteY4" fmla="*/ 3136031 h 6433472"/>
              <a:gd name="connsiteX0" fmla="*/ 402688 w 8807220"/>
              <a:gd name="connsiteY0" fmla="*/ 3136031 h 6374099"/>
              <a:gd name="connsiteX1" fmla="*/ 4888328 w 8807220"/>
              <a:gd name="connsiteY1" fmla="*/ 82489 h 6374099"/>
              <a:gd name="connsiteX2" fmla="*/ 8347808 w 8807220"/>
              <a:gd name="connsiteY2" fmla="*/ 3227471 h 6374099"/>
              <a:gd name="connsiteX3" fmla="*/ 4888328 w 8807220"/>
              <a:gd name="connsiteY3" fmla="*/ 6372453 h 6374099"/>
              <a:gd name="connsiteX4" fmla="*/ 402688 w 8807220"/>
              <a:gd name="connsiteY4" fmla="*/ 3136031 h 6374099"/>
              <a:gd name="connsiteX0" fmla="*/ 402688 w 8915880"/>
              <a:gd name="connsiteY0" fmla="*/ 3057339 h 6295403"/>
              <a:gd name="connsiteX1" fmla="*/ 4888328 w 8915880"/>
              <a:gd name="connsiteY1" fmla="*/ 3797 h 6295403"/>
              <a:gd name="connsiteX2" fmla="*/ 8347808 w 8915880"/>
              <a:gd name="connsiteY2" fmla="*/ 3148779 h 6295403"/>
              <a:gd name="connsiteX3" fmla="*/ 4888328 w 8915880"/>
              <a:gd name="connsiteY3" fmla="*/ 6293761 h 6295403"/>
              <a:gd name="connsiteX4" fmla="*/ 402688 w 8915880"/>
              <a:gd name="connsiteY4" fmla="*/ 3057339 h 6295403"/>
              <a:gd name="connsiteX0" fmla="*/ 402688 w 9146352"/>
              <a:gd name="connsiteY0" fmla="*/ 3054952 h 6293020"/>
              <a:gd name="connsiteX1" fmla="*/ 4888328 w 9146352"/>
              <a:gd name="connsiteY1" fmla="*/ 1410 h 6293020"/>
              <a:gd name="connsiteX2" fmla="*/ 8347808 w 9146352"/>
              <a:gd name="connsiteY2" fmla="*/ 3146392 h 6293020"/>
              <a:gd name="connsiteX3" fmla="*/ 4888328 w 9146352"/>
              <a:gd name="connsiteY3" fmla="*/ 6291374 h 6293020"/>
              <a:gd name="connsiteX4" fmla="*/ 402688 w 9146352"/>
              <a:gd name="connsiteY4" fmla="*/ 3054952 h 6293020"/>
              <a:gd name="connsiteX0" fmla="*/ 402688 w 8877518"/>
              <a:gd name="connsiteY0" fmla="*/ 3054952 h 6293016"/>
              <a:gd name="connsiteX1" fmla="*/ 4888328 w 8877518"/>
              <a:gd name="connsiteY1" fmla="*/ 1410 h 6293016"/>
              <a:gd name="connsiteX2" fmla="*/ 8347808 w 8877518"/>
              <a:gd name="connsiteY2" fmla="*/ 3146392 h 6293016"/>
              <a:gd name="connsiteX3" fmla="*/ 4888328 w 8877518"/>
              <a:gd name="connsiteY3" fmla="*/ 6291374 h 6293016"/>
              <a:gd name="connsiteX4" fmla="*/ 402688 w 8877518"/>
              <a:gd name="connsiteY4" fmla="*/ 3054952 h 6293016"/>
              <a:gd name="connsiteX0" fmla="*/ 27463 w 8502293"/>
              <a:gd name="connsiteY0" fmla="*/ 3055265 h 6293666"/>
              <a:gd name="connsiteX1" fmla="*/ 4513103 w 8502293"/>
              <a:gd name="connsiteY1" fmla="*/ 1723 h 6293666"/>
              <a:gd name="connsiteX2" fmla="*/ 7972583 w 8502293"/>
              <a:gd name="connsiteY2" fmla="*/ 3146705 h 6293666"/>
              <a:gd name="connsiteX3" fmla="*/ 4513103 w 8502293"/>
              <a:gd name="connsiteY3" fmla="*/ 6291687 h 6293666"/>
              <a:gd name="connsiteX4" fmla="*/ 27463 w 8502293"/>
              <a:gd name="connsiteY4" fmla="*/ 3055265 h 6293666"/>
              <a:gd name="connsiteX0" fmla="*/ 27463 w 7983629"/>
              <a:gd name="connsiteY0" fmla="*/ 3055269 h 6293670"/>
              <a:gd name="connsiteX1" fmla="*/ 4513103 w 7983629"/>
              <a:gd name="connsiteY1" fmla="*/ 1727 h 6293670"/>
              <a:gd name="connsiteX2" fmla="*/ 7972583 w 7983629"/>
              <a:gd name="connsiteY2" fmla="*/ 3146709 h 6293670"/>
              <a:gd name="connsiteX3" fmla="*/ 4513103 w 7983629"/>
              <a:gd name="connsiteY3" fmla="*/ 6291691 h 6293670"/>
              <a:gd name="connsiteX4" fmla="*/ 27463 w 7983629"/>
              <a:gd name="connsiteY4" fmla="*/ 3055269 h 6293670"/>
              <a:gd name="connsiteX0" fmla="*/ 27463 w 8001025"/>
              <a:gd name="connsiteY0" fmla="*/ 3055269 h 6293670"/>
              <a:gd name="connsiteX1" fmla="*/ 4513103 w 8001025"/>
              <a:gd name="connsiteY1" fmla="*/ 1727 h 6293670"/>
              <a:gd name="connsiteX2" fmla="*/ 7972583 w 8001025"/>
              <a:gd name="connsiteY2" fmla="*/ 3146709 h 6293670"/>
              <a:gd name="connsiteX3" fmla="*/ 4513103 w 8001025"/>
              <a:gd name="connsiteY3" fmla="*/ 6291691 h 6293670"/>
              <a:gd name="connsiteX4" fmla="*/ 27463 w 8001025"/>
              <a:gd name="connsiteY4" fmla="*/ 3055269 h 6293670"/>
              <a:gd name="connsiteX0" fmla="*/ 27463 w 8827067"/>
              <a:gd name="connsiteY0" fmla="*/ 3055269 h 6291891"/>
              <a:gd name="connsiteX1" fmla="*/ 4513103 w 8827067"/>
              <a:gd name="connsiteY1" fmla="*/ 1727 h 6291891"/>
              <a:gd name="connsiteX2" fmla="*/ 8823753 w 8827067"/>
              <a:gd name="connsiteY2" fmla="*/ 3201976 h 6291891"/>
              <a:gd name="connsiteX3" fmla="*/ 4513103 w 8827067"/>
              <a:gd name="connsiteY3" fmla="*/ 6291691 h 6291891"/>
              <a:gd name="connsiteX4" fmla="*/ 27463 w 8827067"/>
              <a:gd name="connsiteY4" fmla="*/ 3055269 h 6291891"/>
              <a:gd name="connsiteX0" fmla="*/ 27463 w 8827067"/>
              <a:gd name="connsiteY0" fmla="*/ 3055269 h 6292270"/>
              <a:gd name="connsiteX1" fmla="*/ 4513103 w 8827067"/>
              <a:gd name="connsiteY1" fmla="*/ 1727 h 6292270"/>
              <a:gd name="connsiteX2" fmla="*/ 8823753 w 8827067"/>
              <a:gd name="connsiteY2" fmla="*/ 3201976 h 6292270"/>
              <a:gd name="connsiteX3" fmla="*/ 4513103 w 8827067"/>
              <a:gd name="connsiteY3" fmla="*/ 6291691 h 6292270"/>
              <a:gd name="connsiteX4" fmla="*/ 27463 w 8827067"/>
              <a:gd name="connsiteY4" fmla="*/ 3055269 h 6292270"/>
              <a:gd name="connsiteX0" fmla="*/ 27463 w 8827067"/>
              <a:gd name="connsiteY0" fmla="*/ 3060658 h 6297659"/>
              <a:gd name="connsiteX1" fmla="*/ 4513103 w 8827067"/>
              <a:gd name="connsiteY1" fmla="*/ 7116 h 6297659"/>
              <a:gd name="connsiteX2" fmla="*/ 8823753 w 8827067"/>
              <a:gd name="connsiteY2" fmla="*/ 3207365 h 6297659"/>
              <a:gd name="connsiteX3" fmla="*/ 4513103 w 8827067"/>
              <a:gd name="connsiteY3" fmla="*/ 6297080 h 6297659"/>
              <a:gd name="connsiteX4" fmla="*/ 27463 w 8827067"/>
              <a:gd name="connsiteY4" fmla="*/ 3060658 h 6297659"/>
              <a:gd name="connsiteX0" fmla="*/ 15958 w 9241224"/>
              <a:gd name="connsiteY0" fmla="*/ 3115268 h 6296649"/>
              <a:gd name="connsiteX1" fmla="*/ 4927184 w 9241224"/>
              <a:gd name="connsiteY1" fmla="*/ 6454 h 6296649"/>
              <a:gd name="connsiteX2" fmla="*/ 9237834 w 9241224"/>
              <a:gd name="connsiteY2" fmla="*/ 3206703 h 6296649"/>
              <a:gd name="connsiteX3" fmla="*/ 4927184 w 9241224"/>
              <a:gd name="connsiteY3" fmla="*/ 6296418 h 6296649"/>
              <a:gd name="connsiteX4" fmla="*/ 15958 w 9241224"/>
              <a:gd name="connsiteY4" fmla="*/ 3115268 h 6296649"/>
              <a:gd name="connsiteX0" fmla="*/ 5588 w 9230854"/>
              <a:gd name="connsiteY0" fmla="*/ 3111032 h 6292413"/>
              <a:gd name="connsiteX1" fmla="*/ 4916814 w 9230854"/>
              <a:gd name="connsiteY1" fmla="*/ 2218 h 6292413"/>
              <a:gd name="connsiteX2" fmla="*/ 9227464 w 9230854"/>
              <a:gd name="connsiteY2" fmla="*/ 3202467 h 6292413"/>
              <a:gd name="connsiteX3" fmla="*/ 4916814 w 9230854"/>
              <a:gd name="connsiteY3" fmla="*/ 6292182 h 6292413"/>
              <a:gd name="connsiteX4" fmla="*/ 5588 w 9230854"/>
              <a:gd name="connsiteY4" fmla="*/ 3111032 h 6292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0854" h="6292413">
                <a:moveTo>
                  <a:pt x="5588" y="3111032"/>
                </a:moveTo>
                <a:cubicBezTo>
                  <a:pt x="-64285" y="1404127"/>
                  <a:pt x="463350" y="-64987"/>
                  <a:pt x="4916814" y="2218"/>
                </a:cubicBezTo>
                <a:cubicBezTo>
                  <a:pt x="7744898" y="203752"/>
                  <a:pt x="9111408" y="832371"/>
                  <a:pt x="9227464" y="3202467"/>
                </a:cubicBezTo>
                <a:cubicBezTo>
                  <a:pt x="9343520" y="5572563"/>
                  <a:pt x="6453793" y="6307421"/>
                  <a:pt x="4916814" y="6292182"/>
                </a:cubicBezTo>
                <a:cubicBezTo>
                  <a:pt x="3379835" y="6276943"/>
                  <a:pt x="75461" y="4817937"/>
                  <a:pt x="5588" y="3111032"/>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
            <a:extLst>
              <a:ext uri="{FF2B5EF4-FFF2-40B4-BE49-F238E27FC236}">
                <a16:creationId xmlns:a16="http://schemas.microsoft.com/office/drawing/2014/main" id="{62A1CDBA-4FF3-374D-8539-8E683DA1BFDC}"/>
              </a:ext>
            </a:extLst>
          </p:cNvPr>
          <p:cNvSpPr/>
          <p:nvPr userDrawn="1"/>
        </p:nvSpPr>
        <p:spPr>
          <a:xfrm>
            <a:off x="4880084" y="2778268"/>
            <a:ext cx="1845322" cy="1755963"/>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143619 w 8088798"/>
              <a:gd name="connsiteY0" fmla="*/ 3193660 h 6575584"/>
              <a:gd name="connsiteX1" fmla="*/ 4629259 w 8088798"/>
              <a:gd name="connsiteY1" fmla="*/ 140118 h 6575584"/>
              <a:gd name="connsiteX2" fmla="*/ 8088739 w 8088798"/>
              <a:gd name="connsiteY2" fmla="*/ 3285100 h 6575584"/>
              <a:gd name="connsiteX3" fmla="*/ 4629259 w 8088798"/>
              <a:gd name="connsiteY3" fmla="*/ 6430082 h 6575584"/>
              <a:gd name="connsiteX4" fmla="*/ 1428267 w 8088798"/>
              <a:gd name="connsiteY4" fmla="*/ 5761356 h 6575584"/>
              <a:gd name="connsiteX5" fmla="*/ 143619 w 8088798"/>
              <a:gd name="connsiteY5" fmla="*/ 3193660 h 6575584"/>
              <a:gd name="connsiteX0" fmla="*/ 34602 w 7979781"/>
              <a:gd name="connsiteY0" fmla="*/ 3135807 h 6397677"/>
              <a:gd name="connsiteX1" fmla="*/ 4520242 w 7979781"/>
              <a:gd name="connsiteY1" fmla="*/ 82265 h 6397677"/>
              <a:gd name="connsiteX2" fmla="*/ 7979722 w 7979781"/>
              <a:gd name="connsiteY2" fmla="*/ 3227247 h 6397677"/>
              <a:gd name="connsiteX3" fmla="*/ 4520242 w 7979781"/>
              <a:gd name="connsiteY3" fmla="*/ 6372229 h 6397677"/>
              <a:gd name="connsiteX4" fmla="*/ 2550599 w 7979781"/>
              <a:gd name="connsiteY4" fmla="*/ 4628873 h 6397677"/>
              <a:gd name="connsiteX5" fmla="*/ 34602 w 7979781"/>
              <a:gd name="connsiteY5" fmla="*/ 3135807 h 6397677"/>
              <a:gd name="connsiteX0" fmla="*/ 1342 w 7946521"/>
              <a:gd name="connsiteY0" fmla="*/ 3195888 h 6457758"/>
              <a:gd name="connsiteX1" fmla="*/ 4486982 w 7946521"/>
              <a:gd name="connsiteY1" fmla="*/ 142346 h 6457758"/>
              <a:gd name="connsiteX2" fmla="*/ 7946462 w 7946521"/>
              <a:gd name="connsiteY2" fmla="*/ 3287328 h 6457758"/>
              <a:gd name="connsiteX3" fmla="*/ 4486982 w 7946521"/>
              <a:gd name="connsiteY3" fmla="*/ 6432310 h 6457758"/>
              <a:gd name="connsiteX4" fmla="*/ 2517339 w 7946521"/>
              <a:gd name="connsiteY4" fmla="*/ 4688954 h 6457758"/>
              <a:gd name="connsiteX5" fmla="*/ 1342 w 7946521"/>
              <a:gd name="connsiteY5" fmla="*/ 3195888 h 6457758"/>
              <a:gd name="connsiteX0" fmla="*/ 36904 w 7982083"/>
              <a:gd name="connsiteY0" fmla="*/ 3137060 h 6417592"/>
              <a:gd name="connsiteX1" fmla="*/ 4522544 w 7982083"/>
              <a:gd name="connsiteY1" fmla="*/ 83518 h 6417592"/>
              <a:gd name="connsiteX2" fmla="*/ 7982024 w 7982083"/>
              <a:gd name="connsiteY2" fmla="*/ 3228500 h 6417592"/>
              <a:gd name="connsiteX3" fmla="*/ 4522544 w 7982083"/>
              <a:gd name="connsiteY3" fmla="*/ 6373482 h 6417592"/>
              <a:gd name="connsiteX4" fmla="*/ 2503646 w 7982083"/>
              <a:gd name="connsiteY4" fmla="*/ 4943557 h 6417592"/>
              <a:gd name="connsiteX5" fmla="*/ 36904 w 7982083"/>
              <a:gd name="connsiteY5" fmla="*/ 3137060 h 6417592"/>
              <a:gd name="connsiteX0" fmla="*/ 36904 w 8560364"/>
              <a:gd name="connsiteY0" fmla="*/ 3137060 h 6417592"/>
              <a:gd name="connsiteX1" fmla="*/ 4522544 w 8560364"/>
              <a:gd name="connsiteY1" fmla="*/ 83518 h 6417592"/>
              <a:gd name="connsiteX2" fmla="*/ 7982024 w 8560364"/>
              <a:gd name="connsiteY2" fmla="*/ 3228500 h 6417592"/>
              <a:gd name="connsiteX3" fmla="*/ 4522544 w 8560364"/>
              <a:gd name="connsiteY3" fmla="*/ 6373482 h 6417592"/>
              <a:gd name="connsiteX4" fmla="*/ 2503646 w 8560364"/>
              <a:gd name="connsiteY4" fmla="*/ 4943557 h 6417592"/>
              <a:gd name="connsiteX5" fmla="*/ 36904 w 8560364"/>
              <a:gd name="connsiteY5" fmla="*/ 3137060 h 6417592"/>
              <a:gd name="connsiteX0" fmla="*/ 36904 w 8560364"/>
              <a:gd name="connsiteY0" fmla="*/ 3345547 h 6626079"/>
              <a:gd name="connsiteX1" fmla="*/ 4522544 w 8560364"/>
              <a:gd name="connsiteY1" fmla="*/ 292005 h 6626079"/>
              <a:gd name="connsiteX2" fmla="*/ 7982024 w 8560364"/>
              <a:gd name="connsiteY2" fmla="*/ 3436987 h 6626079"/>
              <a:gd name="connsiteX3" fmla="*/ 4522544 w 8560364"/>
              <a:gd name="connsiteY3" fmla="*/ 6581969 h 6626079"/>
              <a:gd name="connsiteX4" fmla="*/ 2503646 w 8560364"/>
              <a:gd name="connsiteY4" fmla="*/ 5152044 h 6626079"/>
              <a:gd name="connsiteX5" fmla="*/ 36904 w 8560364"/>
              <a:gd name="connsiteY5" fmla="*/ 3345547 h 6626079"/>
              <a:gd name="connsiteX0" fmla="*/ 36904 w 8560364"/>
              <a:gd name="connsiteY0" fmla="*/ 3053710 h 6334242"/>
              <a:gd name="connsiteX1" fmla="*/ 4522544 w 8560364"/>
              <a:gd name="connsiteY1" fmla="*/ 168 h 6334242"/>
              <a:gd name="connsiteX2" fmla="*/ 7982024 w 8560364"/>
              <a:gd name="connsiteY2" fmla="*/ 3145150 h 6334242"/>
              <a:gd name="connsiteX3" fmla="*/ 4522544 w 8560364"/>
              <a:gd name="connsiteY3" fmla="*/ 6290132 h 6334242"/>
              <a:gd name="connsiteX4" fmla="*/ 2503646 w 8560364"/>
              <a:gd name="connsiteY4" fmla="*/ 4860207 h 6334242"/>
              <a:gd name="connsiteX5" fmla="*/ 36904 w 8560364"/>
              <a:gd name="connsiteY5" fmla="*/ 3053710 h 6334242"/>
              <a:gd name="connsiteX0" fmla="*/ 14121 w 8537581"/>
              <a:gd name="connsiteY0" fmla="*/ 3053710 h 6334242"/>
              <a:gd name="connsiteX1" fmla="*/ 4499761 w 8537581"/>
              <a:gd name="connsiteY1" fmla="*/ 168 h 6334242"/>
              <a:gd name="connsiteX2" fmla="*/ 7959241 w 8537581"/>
              <a:gd name="connsiteY2" fmla="*/ 3145150 h 6334242"/>
              <a:gd name="connsiteX3" fmla="*/ 4499761 w 8537581"/>
              <a:gd name="connsiteY3" fmla="*/ 6290132 h 6334242"/>
              <a:gd name="connsiteX4" fmla="*/ 2480863 w 8537581"/>
              <a:gd name="connsiteY4" fmla="*/ 4860207 h 6334242"/>
              <a:gd name="connsiteX5" fmla="*/ 14121 w 8537581"/>
              <a:gd name="connsiteY5" fmla="*/ 3053710 h 6334242"/>
              <a:gd name="connsiteX0" fmla="*/ 14121 w 8648219"/>
              <a:gd name="connsiteY0" fmla="*/ 3053710 h 6290385"/>
              <a:gd name="connsiteX1" fmla="*/ 4499761 w 8648219"/>
              <a:gd name="connsiteY1" fmla="*/ 168 h 6290385"/>
              <a:gd name="connsiteX2" fmla="*/ 7959241 w 8648219"/>
              <a:gd name="connsiteY2" fmla="*/ 3145150 h 6290385"/>
              <a:gd name="connsiteX3" fmla="*/ 4499761 w 8648219"/>
              <a:gd name="connsiteY3" fmla="*/ 6290132 h 6290385"/>
              <a:gd name="connsiteX4" fmla="*/ 2480863 w 8648219"/>
              <a:gd name="connsiteY4" fmla="*/ 4860207 h 6290385"/>
              <a:gd name="connsiteX5" fmla="*/ 14121 w 8648219"/>
              <a:gd name="connsiteY5" fmla="*/ 3053710 h 6290385"/>
              <a:gd name="connsiteX0" fmla="*/ 8768 w 8034845"/>
              <a:gd name="connsiteY0" fmla="*/ 3057636 h 6369058"/>
              <a:gd name="connsiteX1" fmla="*/ 4494408 w 8034845"/>
              <a:gd name="connsiteY1" fmla="*/ 4094 h 6369058"/>
              <a:gd name="connsiteX2" fmla="*/ 7412092 w 8034845"/>
              <a:gd name="connsiteY2" fmla="*/ 2477434 h 6369058"/>
              <a:gd name="connsiteX3" fmla="*/ 4494408 w 8034845"/>
              <a:gd name="connsiteY3" fmla="*/ 6294058 h 6369058"/>
              <a:gd name="connsiteX4" fmla="*/ 2475510 w 8034845"/>
              <a:gd name="connsiteY4" fmla="*/ 4864133 h 6369058"/>
              <a:gd name="connsiteX5" fmla="*/ 8768 w 8034845"/>
              <a:gd name="connsiteY5" fmla="*/ 3057636 h 6369058"/>
              <a:gd name="connsiteX0" fmla="*/ 8768 w 7452181"/>
              <a:gd name="connsiteY0" fmla="*/ 3062274 h 6373696"/>
              <a:gd name="connsiteX1" fmla="*/ 4494408 w 7452181"/>
              <a:gd name="connsiteY1" fmla="*/ 8732 h 6373696"/>
              <a:gd name="connsiteX2" fmla="*/ 7412092 w 7452181"/>
              <a:gd name="connsiteY2" fmla="*/ 2482072 h 6373696"/>
              <a:gd name="connsiteX3" fmla="*/ 4494408 w 7452181"/>
              <a:gd name="connsiteY3" fmla="*/ 6298696 h 6373696"/>
              <a:gd name="connsiteX4" fmla="*/ 2475510 w 7452181"/>
              <a:gd name="connsiteY4" fmla="*/ 4868771 h 6373696"/>
              <a:gd name="connsiteX5" fmla="*/ 8768 w 7452181"/>
              <a:gd name="connsiteY5" fmla="*/ 3062274 h 6373696"/>
              <a:gd name="connsiteX0" fmla="*/ 8947 w 7890921"/>
              <a:gd name="connsiteY0" fmla="*/ 3060730 h 6369955"/>
              <a:gd name="connsiteX1" fmla="*/ 4494587 w 7890921"/>
              <a:gd name="connsiteY1" fmla="*/ 7188 h 6369955"/>
              <a:gd name="connsiteX2" fmla="*/ 7855556 w 7890921"/>
              <a:gd name="connsiteY2" fmla="*/ 2525302 h 6369955"/>
              <a:gd name="connsiteX3" fmla="*/ 4494587 w 7890921"/>
              <a:gd name="connsiteY3" fmla="*/ 6297152 h 6369955"/>
              <a:gd name="connsiteX4" fmla="*/ 2475689 w 7890921"/>
              <a:gd name="connsiteY4" fmla="*/ 4867227 h 6369955"/>
              <a:gd name="connsiteX5" fmla="*/ 8947 w 7890921"/>
              <a:gd name="connsiteY5" fmla="*/ 3060730 h 6369955"/>
              <a:gd name="connsiteX0" fmla="*/ 10368 w 7892342"/>
              <a:gd name="connsiteY0" fmla="*/ 3054757 h 6363982"/>
              <a:gd name="connsiteX1" fmla="*/ 4496008 w 7892342"/>
              <a:gd name="connsiteY1" fmla="*/ 1215 h 6363982"/>
              <a:gd name="connsiteX2" fmla="*/ 7856977 w 7892342"/>
              <a:gd name="connsiteY2" fmla="*/ 2519329 h 6363982"/>
              <a:gd name="connsiteX3" fmla="*/ 4496008 w 7892342"/>
              <a:gd name="connsiteY3" fmla="*/ 6291179 h 6363982"/>
              <a:gd name="connsiteX4" fmla="*/ 2477110 w 7892342"/>
              <a:gd name="connsiteY4" fmla="*/ 4861254 h 6363982"/>
              <a:gd name="connsiteX5" fmla="*/ 10368 w 7892342"/>
              <a:gd name="connsiteY5" fmla="*/ 3054757 h 6363982"/>
              <a:gd name="connsiteX0" fmla="*/ 10368 w 7892342"/>
              <a:gd name="connsiteY0" fmla="*/ 3056250 h 6365475"/>
              <a:gd name="connsiteX1" fmla="*/ 4496008 w 7892342"/>
              <a:gd name="connsiteY1" fmla="*/ 2708 h 6365475"/>
              <a:gd name="connsiteX2" fmla="*/ 7856977 w 7892342"/>
              <a:gd name="connsiteY2" fmla="*/ 2520822 h 6365475"/>
              <a:gd name="connsiteX3" fmla="*/ 4496008 w 7892342"/>
              <a:gd name="connsiteY3" fmla="*/ 6292672 h 6365475"/>
              <a:gd name="connsiteX4" fmla="*/ 2477110 w 7892342"/>
              <a:gd name="connsiteY4" fmla="*/ 4862747 h 6365475"/>
              <a:gd name="connsiteX5" fmla="*/ 10368 w 7892342"/>
              <a:gd name="connsiteY5" fmla="*/ 3056250 h 6365475"/>
              <a:gd name="connsiteX0" fmla="*/ 8949 w 7890925"/>
              <a:gd name="connsiteY0" fmla="*/ 2433570 h 6369665"/>
              <a:gd name="connsiteX1" fmla="*/ 4494591 w 7890925"/>
              <a:gd name="connsiteY1" fmla="*/ 6898 h 6369665"/>
              <a:gd name="connsiteX2" fmla="*/ 7855560 w 7890925"/>
              <a:gd name="connsiteY2" fmla="*/ 2525012 h 6369665"/>
              <a:gd name="connsiteX3" fmla="*/ 4494591 w 7890925"/>
              <a:gd name="connsiteY3" fmla="*/ 6296862 h 6369665"/>
              <a:gd name="connsiteX4" fmla="*/ 2475693 w 7890925"/>
              <a:gd name="connsiteY4" fmla="*/ 4866937 h 6369665"/>
              <a:gd name="connsiteX5" fmla="*/ 8949 w 7890925"/>
              <a:gd name="connsiteY5" fmla="*/ 2433570 h 6369665"/>
              <a:gd name="connsiteX0" fmla="*/ 8949 w 7890925"/>
              <a:gd name="connsiteY0" fmla="*/ 2427028 h 6363123"/>
              <a:gd name="connsiteX1" fmla="*/ 4494591 w 7890925"/>
              <a:gd name="connsiteY1" fmla="*/ 356 h 6363123"/>
              <a:gd name="connsiteX2" fmla="*/ 7855560 w 7890925"/>
              <a:gd name="connsiteY2" fmla="*/ 2518470 h 6363123"/>
              <a:gd name="connsiteX3" fmla="*/ 4494591 w 7890925"/>
              <a:gd name="connsiteY3" fmla="*/ 6290320 h 6363123"/>
              <a:gd name="connsiteX4" fmla="*/ 2475693 w 7890925"/>
              <a:gd name="connsiteY4" fmla="*/ 4860395 h 6363123"/>
              <a:gd name="connsiteX5" fmla="*/ 8949 w 7890925"/>
              <a:gd name="connsiteY5" fmla="*/ 2427028 h 6363123"/>
              <a:gd name="connsiteX0" fmla="*/ 39315 w 7921380"/>
              <a:gd name="connsiteY0" fmla="*/ 2426773 h 6329773"/>
              <a:gd name="connsiteX1" fmla="*/ 4524957 w 7921380"/>
              <a:gd name="connsiteY1" fmla="*/ 101 h 6329773"/>
              <a:gd name="connsiteX2" fmla="*/ 7885926 w 7921380"/>
              <a:gd name="connsiteY2" fmla="*/ 2518215 h 6329773"/>
              <a:gd name="connsiteX3" fmla="*/ 4524957 w 7921380"/>
              <a:gd name="connsiteY3" fmla="*/ 6290065 h 6329773"/>
              <a:gd name="connsiteX4" fmla="*/ 2456808 w 7921380"/>
              <a:gd name="connsiteY4" fmla="*/ 4412378 h 6329773"/>
              <a:gd name="connsiteX5" fmla="*/ 39315 w 7921380"/>
              <a:gd name="connsiteY5" fmla="*/ 2426773 h 6329773"/>
              <a:gd name="connsiteX0" fmla="*/ 39315 w 7941474"/>
              <a:gd name="connsiteY0" fmla="*/ 2426773 h 6312253"/>
              <a:gd name="connsiteX1" fmla="*/ 4524957 w 7941474"/>
              <a:gd name="connsiteY1" fmla="*/ 101 h 6312253"/>
              <a:gd name="connsiteX2" fmla="*/ 7885926 w 7941474"/>
              <a:gd name="connsiteY2" fmla="*/ 2518215 h 6312253"/>
              <a:gd name="connsiteX3" fmla="*/ 4524957 w 7941474"/>
              <a:gd name="connsiteY3" fmla="*/ 6290065 h 6312253"/>
              <a:gd name="connsiteX4" fmla="*/ 2456808 w 7941474"/>
              <a:gd name="connsiteY4" fmla="*/ 4412378 h 6312253"/>
              <a:gd name="connsiteX5" fmla="*/ 39315 w 7941474"/>
              <a:gd name="connsiteY5" fmla="*/ 2426773 h 6312253"/>
              <a:gd name="connsiteX0" fmla="*/ 12630 w 7914789"/>
              <a:gd name="connsiteY0" fmla="*/ 2426874 h 6312354"/>
              <a:gd name="connsiteX1" fmla="*/ 4498272 w 7914789"/>
              <a:gd name="connsiteY1" fmla="*/ 202 h 6312354"/>
              <a:gd name="connsiteX2" fmla="*/ 7859241 w 7914789"/>
              <a:gd name="connsiteY2" fmla="*/ 2518316 h 6312354"/>
              <a:gd name="connsiteX3" fmla="*/ 4498272 w 7914789"/>
              <a:gd name="connsiteY3" fmla="*/ 6290166 h 6312354"/>
              <a:gd name="connsiteX4" fmla="*/ 2430123 w 7914789"/>
              <a:gd name="connsiteY4" fmla="*/ 4412479 h 6312354"/>
              <a:gd name="connsiteX5" fmla="*/ 12630 w 7914789"/>
              <a:gd name="connsiteY5" fmla="*/ 2426874 h 6312354"/>
              <a:gd name="connsiteX0" fmla="*/ 12630 w 7914789"/>
              <a:gd name="connsiteY0" fmla="*/ 2031995 h 6320462"/>
              <a:gd name="connsiteX1" fmla="*/ 4498272 w 7914789"/>
              <a:gd name="connsiteY1" fmla="*/ 8310 h 6320462"/>
              <a:gd name="connsiteX2" fmla="*/ 7859241 w 7914789"/>
              <a:gd name="connsiteY2" fmla="*/ 2526424 h 6320462"/>
              <a:gd name="connsiteX3" fmla="*/ 4498272 w 7914789"/>
              <a:gd name="connsiteY3" fmla="*/ 6298274 h 6320462"/>
              <a:gd name="connsiteX4" fmla="*/ 2430123 w 7914789"/>
              <a:gd name="connsiteY4" fmla="*/ 4420587 h 6320462"/>
              <a:gd name="connsiteX5" fmla="*/ 12630 w 7914789"/>
              <a:gd name="connsiteY5" fmla="*/ 2031995 h 6320462"/>
              <a:gd name="connsiteX0" fmla="*/ 0 w 7902159"/>
              <a:gd name="connsiteY0" fmla="*/ 2028208 h 6294485"/>
              <a:gd name="connsiteX1" fmla="*/ 4485642 w 7902159"/>
              <a:gd name="connsiteY1" fmla="*/ 4523 h 6294485"/>
              <a:gd name="connsiteX2" fmla="*/ 7846611 w 7902159"/>
              <a:gd name="connsiteY2" fmla="*/ 2522637 h 6294485"/>
              <a:gd name="connsiteX3" fmla="*/ 4485642 w 7902159"/>
              <a:gd name="connsiteY3" fmla="*/ 6294487 h 6294485"/>
              <a:gd name="connsiteX4" fmla="*/ 0 w 7902159"/>
              <a:gd name="connsiteY4" fmla="*/ 2028208 h 6294485"/>
              <a:gd name="connsiteX0" fmla="*/ 0 w 7902159"/>
              <a:gd name="connsiteY0" fmla="*/ 2282796 h 6549077"/>
              <a:gd name="connsiteX1" fmla="*/ 4485642 w 7902159"/>
              <a:gd name="connsiteY1" fmla="*/ 259111 h 6549077"/>
              <a:gd name="connsiteX2" fmla="*/ 7846611 w 7902159"/>
              <a:gd name="connsiteY2" fmla="*/ 2777225 h 6549077"/>
              <a:gd name="connsiteX3" fmla="*/ 4485642 w 7902159"/>
              <a:gd name="connsiteY3" fmla="*/ 6549075 h 6549077"/>
              <a:gd name="connsiteX4" fmla="*/ 0 w 7902159"/>
              <a:gd name="connsiteY4" fmla="*/ 2282796 h 6549077"/>
              <a:gd name="connsiteX0" fmla="*/ 0 w 7887129"/>
              <a:gd name="connsiteY0" fmla="*/ 3014912 h 6311870"/>
              <a:gd name="connsiteX1" fmla="*/ 4485642 w 7887129"/>
              <a:gd name="connsiteY1" fmla="*/ 6148 h 6311870"/>
              <a:gd name="connsiteX2" fmla="*/ 7846611 w 7887129"/>
              <a:gd name="connsiteY2" fmla="*/ 2524262 h 6311870"/>
              <a:gd name="connsiteX3" fmla="*/ 4485642 w 7887129"/>
              <a:gd name="connsiteY3" fmla="*/ 6296112 h 6311870"/>
              <a:gd name="connsiteX4" fmla="*/ 0 w 7887129"/>
              <a:gd name="connsiteY4" fmla="*/ 3014912 h 6311870"/>
              <a:gd name="connsiteX0" fmla="*/ 0 w 7885767"/>
              <a:gd name="connsiteY0" fmla="*/ 3014912 h 6419348"/>
              <a:gd name="connsiteX1" fmla="*/ 4485642 w 7885767"/>
              <a:gd name="connsiteY1" fmla="*/ 6148 h 6419348"/>
              <a:gd name="connsiteX2" fmla="*/ 7846611 w 7885767"/>
              <a:gd name="connsiteY2" fmla="*/ 2524262 h 6419348"/>
              <a:gd name="connsiteX3" fmla="*/ 4485642 w 7885767"/>
              <a:gd name="connsiteY3" fmla="*/ 6296112 h 6419348"/>
              <a:gd name="connsiteX4" fmla="*/ 0 w 7885767"/>
              <a:gd name="connsiteY4" fmla="*/ 3014912 h 6419348"/>
              <a:gd name="connsiteX0" fmla="*/ 1728 w 7850635"/>
              <a:gd name="connsiteY0" fmla="*/ 3011856 h 6348311"/>
              <a:gd name="connsiteX1" fmla="*/ 4487370 w 7850635"/>
              <a:gd name="connsiteY1" fmla="*/ 3092 h 6348311"/>
              <a:gd name="connsiteX2" fmla="*/ 7848339 w 7850635"/>
              <a:gd name="connsiteY2" fmla="*/ 2521206 h 6348311"/>
              <a:gd name="connsiteX3" fmla="*/ 3994829 w 7850635"/>
              <a:gd name="connsiteY3" fmla="*/ 6248280 h 6348311"/>
              <a:gd name="connsiteX4" fmla="*/ 1728 w 7850635"/>
              <a:gd name="connsiteY4" fmla="*/ 3011856 h 6348311"/>
              <a:gd name="connsiteX0" fmla="*/ 32502 w 7881409"/>
              <a:gd name="connsiteY0" fmla="*/ 3011856 h 6348311"/>
              <a:gd name="connsiteX1" fmla="*/ 4518144 w 7881409"/>
              <a:gd name="connsiteY1" fmla="*/ 3092 h 6348311"/>
              <a:gd name="connsiteX2" fmla="*/ 7879113 w 7881409"/>
              <a:gd name="connsiteY2" fmla="*/ 2521206 h 6348311"/>
              <a:gd name="connsiteX3" fmla="*/ 4025603 w 7881409"/>
              <a:gd name="connsiteY3" fmla="*/ 6248280 h 6348311"/>
              <a:gd name="connsiteX4" fmla="*/ 32502 w 7881409"/>
              <a:gd name="connsiteY4" fmla="*/ 3011856 h 6348311"/>
              <a:gd name="connsiteX0" fmla="*/ 32502 w 7895805"/>
              <a:gd name="connsiteY0" fmla="*/ 3020270 h 6399236"/>
              <a:gd name="connsiteX1" fmla="*/ 4518144 w 7895805"/>
              <a:gd name="connsiteY1" fmla="*/ 11506 h 6399236"/>
              <a:gd name="connsiteX2" fmla="*/ 7879113 w 7895805"/>
              <a:gd name="connsiteY2" fmla="*/ 2529620 h 6399236"/>
              <a:gd name="connsiteX3" fmla="*/ 4025603 w 7895805"/>
              <a:gd name="connsiteY3" fmla="*/ 6256694 h 6399236"/>
              <a:gd name="connsiteX4" fmla="*/ 32502 w 7895805"/>
              <a:gd name="connsiteY4" fmla="*/ 3020270 h 6399236"/>
              <a:gd name="connsiteX0" fmla="*/ 32502 w 7892303"/>
              <a:gd name="connsiteY0" fmla="*/ 3020270 h 6413085"/>
              <a:gd name="connsiteX1" fmla="*/ 4518144 w 7892303"/>
              <a:gd name="connsiteY1" fmla="*/ 11506 h 6413085"/>
              <a:gd name="connsiteX2" fmla="*/ 7879113 w 7892303"/>
              <a:gd name="connsiteY2" fmla="*/ 2529620 h 6413085"/>
              <a:gd name="connsiteX3" fmla="*/ 4025603 w 7892303"/>
              <a:gd name="connsiteY3" fmla="*/ 6256694 h 6413085"/>
              <a:gd name="connsiteX4" fmla="*/ 32502 w 7892303"/>
              <a:gd name="connsiteY4" fmla="*/ 3020270 h 6413085"/>
              <a:gd name="connsiteX0" fmla="*/ 29242 w 7889043"/>
              <a:gd name="connsiteY0" fmla="*/ 3276576 h 6669391"/>
              <a:gd name="connsiteX1" fmla="*/ 4514884 w 7889043"/>
              <a:gd name="connsiteY1" fmla="*/ 267812 h 6669391"/>
              <a:gd name="connsiteX2" fmla="*/ 7875853 w 7889043"/>
              <a:gd name="connsiteY2" fmla="*/ 2785926 h 6669391"/>
              <a:gd name="connsiteX3" fmla="*/ 4022343 w 7889043"/>
              <a:gd name="connsiteY3" fmla="*/ 6513000 h 6669391"/>
              <a:gd name="connsiteX4" fmla="*/ 29242 w 7889043"/>
              <a:gd name="connsiteY4" fmla="*/ 3276576 h 6669391"/>
              <a:gd name="connsiteX0" fmla="*/ 24799 w 7884600"/>
              <a:gd name="connsiteY0" fmla="*/ 3425887 h 6818702"/>
              <a:gd name="connsiteX1" fmla="*/ 4510441 w 7884600"/>
              <a:gd name="connsiteY1" fmla="*/ 417123 h 6818702"/>
              <a:gd name="connsiteX2" fmla="*/ 7871410 w 7884600"/>
              <a:gd name="connsiteY2" fmla="*/ 2935237 h 6818702"/>
              <a:gd name="connsiteX3" fmla="*/ 4017900 w 7884600"/>
              <a:gd name="connsiteY3" fmla="*/ 6662311 h 6818702"/>
              <a:gd name="connsiteX4" fmla="*/ 24799 w 7884600"/>
              <a:gd name="connsiteY4" fmla="*/ 3425887 h 6818702"/>
              <a:gd name="connsiteX0" fmla="*/ 676 w 7847979"/>
              <a:gd name="connsiteY0" fmla="*/ 3548030 h 6873603"/>
              <a:gd name="connsiteX1" fmla="*/ 3648998 w 7847979"/>
              <a:gd name="connsiteY1" fmla="*/ 270603 h 6873603"/>
              <a:gd name="connsiteX2" fmla="*/ 7847287 w 7847979"/>
              <a:gd name="connsiteY2" fmla="*/ 3057380 h 6873603"/>
              <a:gd name="connsiteX3" fmla="*/ 3993777 w 7847979"/>
              <a:gd name="connsiteY3" fmla="*/ 6784454 h 6873603"/>
              <a:gd name="connsiteX4" fmla="*/ 676 w 7847979"/>
              <a:gd name="connsiteY4" fmla="*/ 3548030 h 6873603"/>
              <a:gd name="connsiteX0" fmla="*/ 676 w 7847979"/>
              <a:gd name="connsiteY0" fmla="*/ 3548030 h 6918268"/>
              <a:gd name="connsiteX1" fmla="*/ 3648998 w 7847979"/>
              <a:gd name="connsiteY1" fmla="*/ 270603 h 6918268"/>
              <a:gd name="connsiteX2" fmla="*/ 7847287 w 7847979"/>
              <a:gd name="connsiteY2" fmla="*/ 3057380 h 6918268"/>
              <a:gd name="connsiteX3" fmla="*/ 3993777 w 7847979"/>
              <a:gd name="connsiteY3" fmla="*/ 6784454 h 6918268"/>
              <a:gd name="connsiteX4" fmla="*/ 676 w 7847979"/>
              <a:gd name="connsiteY4" fmla="*/ 3548030 h 6918268"/>
              <a:gd name="connsiteX0" fmla="*/ 676 w 7852158"/>
              <a:gd name="connsiteY0" fmla="*/ 3684591 h 7054829"/>
              <a:gd name="connsiteX1" fmla="*/ 3648998 w 7852158"/>
              <a:gd name="connsiteY1" fmla="*/ 407164 h 7054829"/>
              <a:gd name="connsiteX2" fmla="*/ 7847287 w 7852158"/>
              <a:gd name="connsiteY2" fmla="*/ 3193941 h 7054829"/>
              <a:gd name="connsiteX3" fmla="*/ 3993777 w 7852158"/>
              <a:gd name="connsiteY3" fmla="*/ 6921015 h 7054829"/>
              <a:gd name="connsiteX4" fmla="*/ 676 w 7852158"/>
              <a:gd name="connsiteY4" fmla="*/ 3684591 h 7054829"/>
              <a:gd name="connsiteX0" fmla="*/ 1012 w 7854094"/>
              <a:gd name="connsiteY0" fmla="*/ 3277427 h 6513850"/>
              <a:gd name="connsiteX1" fmla="*/ 3649334 w 7854094"/>
              <a:gd name="connsiteY1" fmla="*/ 0 h 6513850"/>
              <a:gd name="connsiteX2" fmla="*/ 7847622 w 7854094"/>
              <a:gd name="connsiteY2" fmla="*/ 3279314 h 6513850"/>
              <a:gd name="connsiteX3" fmla="*/ 3994113 w 7854094"/>
              <a:gd name="connsiteY3" fmla="*/ 6513851 h 6513850"/>
              <a:gd name="connsiteX4" fmla="*/ 1012 w 7854094"/>
              <a:gd name="connsiteY4" fmla="*/ 3277427 h 6513850"/>
              <a:gd name="connsiteX0" fmla="*/ 1012 w 7852983"/>
              <a:gd name="connsiteY0" fmla="*/ 3277427 h 6814821"/>
              <a:gd name="connsiteX1" fmla="*/ 3649334 w 7852983"/>
              <a:gd name="connsiteY1" fmla="*/ 0 h 6814821"/>
              <a:gd name="connsiteX2" fmla="*/ 7847622 w 7852983"/>
              <a:gd name="connsiteY2" fmla="*/ 3279314 h 6814821"/>
              <a:gd name="connsiteX3" fmla="*/ 3994113 w 7852983"/>
              <a:gd name="connsiteY3" fmla="*/ 6513851 h 6814821"/>
              <a:gd name="connsiteX4" fmla="*/ 1012 w 7852983"/>
              <a:gd name="connsiteY4" fmla="*/ 3277427 h 6814821"/>
              <a:gd name="connsiteX0" fmla="*/ 1012 w 7852983"/>
              <a:gd name="connsiteY0" fmla="*/ 3277427 h 6814821"/>
              <a:gd name="connsiteX1" fmla="*/ 3649334 w 7852983"/>
              <a:gd name="connsiteY1" fmla="*/ 0 h 6814821"/>
              <a:gd name="connsiteX2" fmla="*/ 7847622 w 7852983"/>
              <a:gd name="connsiteY2" fmla="*/ 3279314 h 6814821"/>
              <a:gd name="connsiteX3" fmla="*/ 3994113 w 7852983"/>
              <a:gd name="connsiteY3" fmla="*/ 6513851 h 6814821"/>
              <a:gd name="connsiteX4" fmla="*/ 1012 w 7852983"/>
              <a:gd name="connsiteY4" fmla="*/ 3277427 h 6814821"/>
              <a:gd name="connsiteX0" fmla="*/ 1013 w 7854094"/>
              <a:gd name="connsiteY0" fmla="*/ 3684122 h 6550535"/>
              <a:gd name="connsiteX1" fmla="*/ 3649334 w 7854094"/>
              <a:gd name="connsiteY1" fmla="*/ 3706 h 6550535"/>
              <a:gd name="connsiteX2" fmla="*/ 7847622 w 7854094"/>
              <a:gd name="connsiteY2" fmla="*/ 3283020 h 6550535"/>
              <a:gd name="connsiteX3" fmla="*/ 3994113 w 7854094"/>
              <a:gd name="connsiteY3" fmla="*/ 6517557 h 6550535"/>
              <a:gd name="connsiteX4" fmla="*/ 1013 w 7854094"/>
              <a:gd name="connsiteY4" fmla="*/ 3684122 h 6550535"/>
              <a:gd name="connsiteX0" fmla="*/ 1013 w 7852430"/>
              <a:gd name="connsiteY0" fmla="*/ 3684122 h 6792891"/>
              <a:gd name="connsiteX1" fmla="*/ 3649334 w 7852430"/>
              <a:gd name="connsiteY1" fmla="*/ 3706 h 6792891"/>
              <a:gd name="connsiteX2" fmla="*/ 7847622 w 7852430"/>
              <a:gd name="connsiteY2" fmla="*/ 3283020 h 6792891"/>
              <a:gd name="connsiteX3" fmla="*/ 3994113 w 7852430"/>
              <a:gd name="connsiteY3" fmla="*/ 6517557 h 6792891"/>
              <a:gd name="connsiteX4" fmla="*/ 1013 w 7852430"/>
              <a:gd name="connsiteY4" fmla="*/ 3684122 h 679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2430" h="6792891">
                <a:moveTo>
                  <a:pt x="1013" y="3684122"/>
                </a:moveTo>
                <a:cubicBezTo>
                  <a:pt x="-56452" y="538767"/>
                  <a:pt x="2341566" y="70556"/>
                  <a:pt x="3649334" y="3706"/>
                </a:cubicBezTo>
                <a:cubicBezTo>
                  <a:pt x="4957102" y="-63144"/>
                  <a:pt x="7691649" y="764534"/>
                  <a:pt x="7847622" y="3283020"/>
                </a:cubicBezTo>
                <a:cubicBezTo>
                  <a:pt x="8003595" y="5801506"/>
                  <a:pt x="4316802" y="7480566"/>
                  <a:pt x="3994113" y="6517557"/>
                </a:cubicBezTo>
                <a:cubicBezTo>
                  <a:pt x="3671424" y="5554548"/>
                  <a:pt x="58478" y="6829477"/>
                  <a:pt x="1013" y="3684122"/>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2" name="Straight Connector 31">
            <a:extLst>
              <a:ext uri="{FF2B5EF4-FFF2-40B4-BE49-F238E27FC236}">
                <a16:creationId xmlns:a16="http://schemas.microsoft.com/office/drawing/2014/main" id="{CB2ED819-77A9-8043-91A5-AF2B73296086}"/>
              </a:ext>
            </a:extLst>
          </p:cNvPr>
          <p:cNvCxnSpPr>
            <a:cxnSpLocks/>
          </p:cNvCxnSpPr>
          <p:nvPr userDrawn="1"/>
        </p:nvCxnSpPr>
        <p:spPr>
          <a:xfrm>
            <a:off x="22784" y="5119022"/>
            <a:ext cx="261089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BAD35A3-6B12-AA48-A806-553BF8DB3F51}"/>
              </a:ext>
            </a:extLst>
          </p:cNvPr>
          <p:cNvSpPr txBox="1"/>
          <p:nvPr userDrawn="1"/>
        </p:nvSpPr>
        <p:spPr>
          <a:xfrm>
            <a:off x="11392" y="4818005"/>
            <a:ext cx="4464684" cy="261610"/>
          </a:xfrm>
          <a:prstGeom prst="rect">
            <a:avLst/>
          </a:prstGeom>
          <a:noFill/>
        </p:spPr>
        <p:txBody>
          <a:bodyPr wrap="none" rtlCol="0" anchor="ctr">
            <a:spAutoFit/>
          </a:bodyPr>
          <a:lstStyle/>
          <a:p>
            <a:r>
              <a:rPr lang="en-US" sz="1100" b="1" dirty="0">
                <a:solidFill>
                  <a:schemeClr val="bg1"/>
                </a:solidFill>
                <a:latin typeface="Myriad Pro" panose="020B0503030403020204" pitchFamily="34" charset="0"/>
                <a:ea typeface="Verdana" panose="020B0604030504040204" pitchFamily="34" charset="0"/>
                <a:cs typeface="Verdana" panose="020B0604030504040204" pitchFamily="34" charset="0"/>
              </a:rPr>
              <a:t>Extra Food Illustrations to Use </a:t>
            </a:r>
            <a:r>
              <a:rPr lang="en-US" sz="1100" b="0" dirty="0">
                <a:solidFill>
                  <a:schemeClr val="bg1"/>
                </a:solidFill>
                <a:latin typeface="Myriad Pro" panose="020B0503030403020204" pitchFamily="34" charset="0"/>
                <a:ea typeface="Verdana" panose="020B0604030504040204" pitchFamily="34" charset="0"/>
                <a:cs typeface="Verdana" panose="020B0604030504040204" pitchFamily="34" charset="0"/>
              </a:rPr>
              <a:t>(on divider slides, title or end slides, etc.)</a:t>
            </a:r>
          </a:p>
        </p:txBody>
      </p:sp>
      <p:sp>
        <p:nvSpPr>
          <p:cNvPr id="26" name="Oval 6">
            <a:extLst>
              <a:ext uri="{FF2B5EF4-FFF2-40B4-BE49-F238E27FC236}">
                <a16:creationId xmlns:a16="http://schemas.microsoft.com/office/drawing/2014/main" id="{6BB67636-D04C-E443-AB94-1E56B0DEC5B0}"/>
              </a:ext>
            </a:extLst>
          </p:cNvPr>
          <p:cNvSpPr/>
          <p:nvPr userDrawn="1"/>
        </p:nvSpPr>
        <p:spPr>
          <a:xfrm>
            <a:off x="9895240" y="840282"/>
            <a:ext cx="1868317" cy="177811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748 w 8554017"/>
              <a:gd name="connsiteY0" fmla="*/ 3713786 h 7792503"/>
              <a:gd name="connsiteX1" fmla="*/ 4337099 w 8554017"/>
              <a:gd name="connsiteY1" fmla="*/ 80 h 7792503"/>
              <a:gd name="connsiteX2" fmla="*/ 8502274 w 8554017"/>
              <a:gd name="connsiteY2" fmla="*/ 4209732 h 7792503"/>
              <a:gd name="connsiteX3" fmla="*/ 4282508 w 8554017"/>
              <a:gd name="connsiteY3" fmla="*/ 7638733 h 7792503"/>
              <a:gd name="connsiteX4" fmla="*/ 748 w 8554017"/>
              <a:gd name="connsiteY4" fmla="*/ 3713786 h 7792503"/>
              <a:gd name="connsiteX0" fmla="*/ 748 w 8557378"/>
              <a:gd name="connsiteY0" fmla="*/ 3912181 h 7990898"/>
              <a:gd name="connsiteX1" fmla="*/ 4337099 w 8557378"/>
              <a:gd name="connsiteY1" fmla="*/ 198475 h 7990898"/>
              <a:gd name="connsiteX2" fmla="*/ 8502274 w 8557378"/>
              <a:gd name="connsiteY2" fmla="*/ 4408127 h 7990898"/>
              <a:gd name="connsiteX3" fmla="*/ 4282508 w 8557378"/>
              <a:gd name="connsiteY3" fmla="*/ 7837128 h 7990898"/>
              <a:gd name="connsiteX4" fmla="*/ 748 w 8557378"/>
              <a:gd name="connsiteY4" fmla="*/ 3912181 h 7990898"/>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07406"/>
              <a:gd name="connsiteY0" fmla="*/ 3866904 h 7945621"/>
              <a:gd name="connsiteX1" fmla="*/ 4342230 w 8507406"/>
              <a:gd name="connsiteY1" fmla="*/ 153198 h 7945621"/>
              <a:gd name="connsiteX2" fmla="*/ 8507405 w 8507406"/>
              <a:gd name="connsiteY2" fmla="*/ 4362850 h 7945621"/>
              <a:gd name="connsiteX3" fmla="*/ 4287639 w 8507406"/>
              <a:gd name="connsiteY3" fmla="*/ 7791851 h 7945621"/>
              <a:gd name="connsiteX4" fmla="*/ 5879 w 8507406"/>
              <a:gd name="connsiteY4" fmla="*/ 3866904 h 7945621"/>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95018"/>
              <a:gd name="connsiteY0" fmla="*/ 3878166 h 7916068"/>
              <a:gd name="connsiteX1" fmla="*/ 4342230 w 8595018"/>
              <a:gd name="connsiteY1" fmla="*/ 164460 h 7916068"/>
              <a:gd name="connsiteX2" fmla="*/ 8507405 w 8595018"/>
              <a:gd name="connsiteY2" fmla="*/ 4374112 h 7916068"/>
              <a:gd name="connsiteX3" fmla="*/ 4287639 w 8595018"/>
              <a:gd name="connsiteY3" fmla="*/ 7803113 h 7916068"/>
              <a:gd name="connsiteX4" fmla="*/ 5879 w 8595018"/>
              <a:gd name="connsiteY4" fmla="*/ 3878166 h 7916068"/>
              <a:gd name="connsiteX0" fmla="*/ 5879 w 8595018"/>
              <a:gd name="connsiteY0" fmla="*/ 3724040 h 7761942"/>
              <a:gd name="connsiteX1" fmla="*/ 4342230 w 8595018"/>
              <a:gd name="connsiteY1" fmla="*/ 10334 h 7761942"/>
              <a:gd name="connsiteX2" fmla="*/ 8507405 w 8595018"/>
              <a:gd name="connsiteY2" fmla="*/ 4219986 h 7761942"/>
              <a:gd name="connsiteX3" fmla="*/ 4287639 w 8595018"/>
              <a:gd name="connsiteY3" fmla="*/ 7648987 h 7761942"/>
              <a:gd name="connsiteX4" fmla="*/ 5879 w 8595018"/>
              <a:gd name="connsiteY4" fmla="*/ 3724040 h 7761942"/>
              <a:gd name="connsiteX0" fmla="*/ 5409 w 8324942"/>
              <a:gd name="connsiteY0" fmla="*/ 4800570 h 7660046"/>
              <a:gd name="connsiteX1" fmla="*/ 4082653 w 8324942"/>
              <a:gd name="connsiteY1" fmla="*/ 3789 h 7660046"/>
              <a:gd name="connsiteX2" fmla="*/ 8247828 w 8324942"/>
              <a:gd name="connsiteY2" fmla="*/ 4213441 h 7660046"/>
              <a:gd name="connsiteX3" fmla="*/ 4028062 w 8324942"/>
              <a:gd name="connsiteY3" fmla="*/ 7642442 h 7660046"/>
              <a:gd name="connsiteX4" fmla="*/ 5409 w 8324942"/>
              <a:gd name="connsiteY4" fmla="*/ 4800570 h 7660046"/>
              <a:gd name="connsiteX0" fmla="*/ 17211 w 8336744"/>
              <a:gd name="connsiteY0" fmla="*/ 4800570 h 7694890"/>
              <a:gd name="connsiteX1" fmla="*/ 4094455 w 8336744"/>
              <a:gd name="connsiteY1" fmla="*/ 3789 h 7694890"/>
              <a:gd name="connsiteX2" fmla="*/ 8259630 w 8336744"/>
              <a:gd name="connsiteY2" fmla="*/ 4213441 h 7694890"/>
              <a:gd name="connsiteX3" fmla="*/ 4039864 w 8336744"/>
              <a:gd name="connsiteY3" fmla="*/ 7642442 h 7694890"/>
              <a:gd name="connsiteX4" fmla="*/ 17211 w 8336744"/>
              <a:gd name="connsiteY4" fmla="*/ 4800570 h 7694890"/>
              <a:gd name="connsiteX0" fmla="*/ 17117 w 8234714"/>
              <a:gd name="connsiteY0" fmla="*/ 4817502 h 7754594"/>
              <a:gd name="connsiteX1" fmla="*/ 4094361 w 8234714"/>
              <a:gd name="connsiteY1" fmla="*/ 20721 h 7754594"/>
              <a:gd name="connsiteX2" fmla="*/ 8155889 w 8234714"/>
              <a:gd name="connsiteY2" fmla="*/ 3603331 h 7754594"/>
              <a:gd name="connsiteX3" fmla="*/ 4039770 w 8234714"/>
              <a:gd name="connsiteY3" fmla="*/ 7659374 h 7754594"/>
              <a:gd name="connsiteX4" fmla="*/ 17117 w 8234714"/>
              <a:gd name="connsiteY4" fmla="*/ 4817502 h 7754594"/>
              <a:gd name="connsiteX0" fmla="*/ 17117 w 8157926"/>
              <a:gd name="connsiteY0" fmla="*/ 4826982 h 7764074"/>
              <a:gd name="connsiteX1" fmla="*/ 4094361 w 8157926"/>
              <a:gd name="connsiteY1" fmla="*/ 30201 h 7764074"/>
              <a:gd name="connsiteX2" fmla="*/ 8155889 w 8157926"/>
              <a:gd name="connsiteY2" fmla="*/ 3612811 h 7764074"/>
              <a:gd name="connsiteX3" fmla="*/ 4039770 w 8157926"/>
              <a:gd name="connsiteY3" fmla="*/ 7668854 h 7764074"/>
              <a:gd name="connsiteX4" fmla="*/ 17117 w 8157926"/>
              <a:gd name="connsiteY4" fmla="*/ 4826982 h 7764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926" h="7764074">
                <a:moveTo>
                  <a:pt x="17117" y="4826982"/>
                </a:moveTo>
                <a:cubicBezTo>
                  <a:pt x="-252767" y="1601784"/>
                  <a:pt x="2737899" y="232563"/>
                  <a:pt x="4094361" y="30201"/>
                </a:cubicBezTo>
                <a:cubicBezTo>
                  <a:pt x="5450823" y="-172161"/>
                  <a:pt x="8243982" y="600876"/>
                  <a:pt x="8155889" y="3612811"/>
                </a:cubicBezTo>
                <a:cubicBezTo>
                  <a:pt x="8067796" y="6624746"/>
                  <a:pt x="5396232" y="7466492"/>
                  <a:pt x="4039770" y="7668854"/>
                </a:cubicBezTo>
                <a:cubicBezTo>
                  <a:pt x="2683308" y="7871216"/>
                  <a:pt x="287001" y="8052180"/>
                  <a:pt x="17117" y="4826982"/>
                </a:cubicBezTo>
                <a:close/>
              </a:path>
            </a:pathLst>
          </a:custGeom>
          <a:solidFill>
            <a:schemeClr val="bg2"/>
          </a:solidFill>
          <a:ln>
            <a:noFill/>
          </a:ln>
          <a:effectLst>
            <a:outerShdw blurRad="1270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6">
            <a:extLst>
              <a:ext uri="{FF2B5EF4-FFF2-40B4-BE49-F238E27FC236}">
                <a16:creationId xmlns:a16="http://schemas.microsoft.com/office/drawing/2014/main" id="{1F624FE6-F0D0-1041-B53D-74C3F97E2063}"/>
              </a:ext>
            </a:extLst>
          </p:cNvPr>
          <p:cNvSpPr/>
          <p:nvPr userDrawn="1"/>
        </p:nvSpPr>
        <p:spPr>
          <a:xfrm>
            <a:off x="2558538" y="2856235"/>
            <a:ext cx="1745426" cy="1600029"/>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748 w 8554017"/>
              <a:gd name="connsiteY0" fmla="*/ 3713786 h 7792503"/>
              <a:gd name="connsiteX1" fmla="*/ 4337099 w 8554017"/>
              <a:gd name="connsiteY1" fmla="*/ 80 h 7792503"/>
              <a:gd name="connsiteX2" fmla="*/ 8502274 w 8554017"/>
              <a:gd name="connsiteY2" fmla="*/ 4209732 h 7792503"/>
              <a:gd name="connsiteX3" fmla="*/ 4282508 w 8554017"/>
              <a:gd name="connsiteY3" fmla="*/ 7638733 h 7792503"/>
              <a:gd name="connsiteX4" fmla="*/ 748 w 8554017"/>
              <a:gd name="connsiteY4" fmla="*/ 3713786 h 7792503"/>
              <a:gd name="connsiteX0" fmla="*/ 748 w 8557378"/>
              <a:gd name="connsiteY0" fmla="*/ 3912181 h 7990898"/>
              <a:gd name="connsiteX1" fmla="*/ 4337099 w 8557378"/>
              <a:gd name="connsiteY1" fmla="*/ 198475 h 7990898"/>
              <a:gd name="connsiteX2" fmla="*/ 8502274 w 8557378"/>
              <a:gd name="connsiteY2" fmla="*/ 4408127 h 7990898"/>
              <a:gd name="connsiteX3" fmla="*/ 4282508 w 8557378"/>
              <a:gd name="connsiteY3" fmla="*/ 7837128 h 7990898"/>
              <a:gd name="connsiteX4" fmla="*/ 748 w 8557378"/>
              <a:gd name="connsiteY4" fmla="*/ 3912181 h 7990898"/>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07406"/>
              <a:gd name="connsiteY0" fmla="*/ 3866904 h 7945621"/>
              <a:gd name="connsiteX1" fmla="*/ 4342230 w 8507406"/>
              <a:gd name="connsiteY1" fmla="*/ 153198 h 7945621"/>
              <a:gd name="connsiteX2" fmla="*/ 8507405 w 8507406"/>
              <a:gd name="connsiteY2" fmla="*/ 4362850 h 7945621"/>
              <a:gd name="connsiteX3" fmla="*/ 4287639 w 8507406"/>
              <a:gd name="connsiteY3" fmla="*/ 7791851 h 7945621"/>
              <a:gd name="connsiteX4" fmla="*/ 5879 w 8507406"/>
              <a:gd name="connsiteY4" fmla="*/ 3866904 h 7945621"/>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95018"/>
              <a:gd name="connsiteY0" fmla="*/ 3878166 h 7916068"/>
              <a:gd name="connsiteX1" fmla="*/ 4342230 w 8595018"/>
              <a:gd name="connsiteY1" fmla="*/ 164460 h 7916068"/>
              <a:gd name="connsiteX2" fmla="*/ 8507405 w 8595018"/>
              <a:gd name="connsiteY2" fmla="*/ 4374112 h 7916068"/>
              <a:gd name="connsiteX3" fmla="*/ 4287639 w 8595018"/>
              <a:gd name="connsiteY3" fmla="*/ 7803113 h 7916068"/>
              <a:gd name="connsiteX4" fmla="*/ 5879 w 8595018"/>
              <a:gd name="connsiteY4" fmla="*/ 3878166 h 7916068"/>
              <a:gd name="connsiteX0" fmla="*/ 5879 w 8595018"/>
              <a:gd name="connsiteY0" fmla="*/ 3724040 h 7761942"/>
              <a:gd name="connsiteX1" fmla="*/ 4342230 w 8595018"/>
              <a:gd name="connsiteY1" fmla="*/ 10334 h 7761942"/>
              <a:gd name="connsiteX2" fmla="*/ 8507405 w 8595018"/>
              <a:gd name="connsiteY2" fmla="*/ 4219986 h 7761942"/>
              <a:gd name="connsiteX3" fmla="*/ 4287639 w 8595018"/>
              <a:gd name="connsiteY3" fmla="*/ 7648987 h 7761942"/>
              <a:gd name="connsiteX4" fmla="*/ 5879 w 8595018"/>
              <a:gd name="connsiteY4" fmla="*/ 3724040 h 7761942"/>
              <a:gd name="connsiteX0" fmla="*/ 17195 w 8585295"/>
              <a:gd name="connsiteY0" fmla="*/ 3724038 h 7802628"/>
              <a:gd name="connsiteX1" fmla="*/ 4353546 w 8585295"/>
              <a:gd name="connsiteY1" fmla="*/ 10332 h 7802628"/>
              <a:gd name="connsiteX2" fmla="*/ 8518721 w 8585295"/>
              <a:gd name="connsiteY2" fmla="*/ 4219984 h 7802628"/>
              <a:gd name="connsiteX3" fmla="*/ 3182975 w 8585295"/>
              <a:gd name="connsiteY3" fmla="*/ 7691909 h 7802628"/>
              <a:gd name="connsiteX4" fmla="*/ 17195 w 8585295"/>
              <a:gd name="connsiteY4" fmla="*/ 3724038 h 7802628"/>
              <a:gd name="connsiteX0" fmla="*/ 13476 w 8448314"/>
              <a:gd name="connsiteY0" fmla="*/ 3713723 h 7681623"/>
              <a:gd name="connsiteX1" fmla="*/ 4349827 w 8448314"/>
              <a:gd name="connsiteY1" fmla="*/ 17 h 7681623"/>
              <a:gd name="connsiteX2" fmla="*/ 8386236 w 8448314"/>
              <a:gd name="connsiteY2" fmla="*/ 3758985 h 7681623"/>
              <a:gd name="connsiteX3" fmla="*/ 3179256 w 8448314"/>
              <a:gd name="connsiteY3" fmla="*/ 7681594 h 7681623"/>
              <a:gd name="connsiteX4" fmla="*/ 13476 w 8448314"/>
              <a:gd name="connsiteY4" fmla="*/ 3713723 h 7681623"/>
              <a:gd name="connsiteX0" fmla="*/ 13476 w 8403375"/>
              <a:gd name="connsiteY0" fmla="*/ 3713723 h 7681671"/>
              <a:gd name="connsiteX1" fmla="*/ 4349827 w 8403375"/>
              <a:gd name="connsiteY1" fmla="*/ 17 h 7681671"/>
              <a:gd name="connsiteX2" fmla="*/ 8386236 w 8403375"/>
              <a:gd name="connsiteY2" fmla="*/ 3758985 h 7681671"/>
              <a:gd name="connsiteX3" fmla="*/ 3179256 w 8403375"/>
              <a:gd name="connsiteY3" fmla="*/ 7681594 h 7681671"/>
              <a:gd name="connsiteX4" fmla="*/ 13476 w 8403375"/>
              <a:gd name="connsiteY4" fmla="*/ 3713723 h 7681671"/>
              <a:gd name="connsiteX0" fmla="*/ 13476 w 8403375"/>
              <a:gd name="connsiteY0" fmla="*/ 3740768 h 7708717"/>
              <a:gd name="connsiteX1" fmla="*/ 4349827 w 8403375"/>
              <a:gd name="connsiteY1" fmla="*/ 27062 h 7708717"/>
              <a:gd name="connsiteX2" fmla="*/ 8386236 w 8403375"/>
              <a:gd name="connsiteY2" fmla="*/ 3786030 h 7708717"/>
              <a:gd name="connsiteX3" fmla="*/ 3179256 w 8403375"/>
              <a:gd name="connsiteY3" fmla="*/ 7708639 h 7708717"/>
              <a:gd name="connsiteX4" fmla="*/ 13476 w 8403375"/>
              <a:gd name="connsiteY4" fmla="*/ 3740768 h 7708717"/>
              <a:gd name="connsiteX0" fmla="*/ 3404 w 8393303"/>
              <a:gd name="connsiteY0" fmla="*/ 3744367 h 7712316"/>
              <a:gd name="connsiteX1" fmla="*/ 4339755 w 8393303"/>
              <a:gd name="connsiteY1" fmla="*/ 30661 h 7712316"/>
              <a:gd name="connsiteX2" fmla="*/ 8376164 w 8393303"/>
              <a:gd name="connsiteY2" fmla="*/ 3789629 h 7712316"/>
              <a:gd name="connsiteX3" fmla="*/ 3169184 w 8393303"/>
              <a:gd name="connsiteY3" fmla="*/ 7712238 h 7712316"/>
              <a:gd name="connsiteX4" fmla="*/ 3404 w 8393303"/>
              <a:gd name="connsiteY4" fmla="*/ 3744367 h 7712316"/>
              <a:gd name="connsiteX0" fmla="*/ 3404 w 8393728"/>
              <a:gd name="connsiteY0" fmla="*/ 3744367 h 7724613"/>
              <a:gd name="connsiteX1" fmla="*/ 4339755 w 8393728"/>
              <a:gd name="connsiteY1" fmla="*/ 30661 h 7724613"/>
              <a:gd name="connsiteX2" fmla="*/ 8376164 w 8393728"/>
              <a:gd name="connsiteY2" fmla="*/ 3789629 h 7724613"/>
              <a:gd name="connsiteX3" fmla="*/ 3169184 w 8393728"/>
              <a:gd name="connsiteY3" fmla="*/ 7712238 h 7724613"/>
              <a:gd name="connsiteX4" fmla="*/ 3404 w 8393728"/>
              <a:gd name="connsiteY4" fmla="*/ 3744367 h 7724613"/>
              <a:gd name="connsiteX0" fmla="*/ 3109 w 8393433"/>
              <a:gd name="connsiteY0" fmla="*/ 3714003 h 7694248"/>
              <a:gd name="connsiteX1" fmla="*/ 4339460 w 8393433"/>
              <a:gd name="connsiteY1" fmla="*/ 297 h 7694248"/>
              <a:gd name="connsiteX2" fmla="*/ 8375869 w 8393433"/>
              <a:gd name="connsiteY2" fmla="*/ 3759265 h 7694248"/>
              <a:gd name="connsiteX3" fmla="*/ 3168889 w 8393433"/>
              <a:gd name="connsiteY3" fmla="*/ 7681874 h 7694248"/>
              <a:gd name="connsiteX4" fmla="*/ 3109 w 8393433"/>
              <a:gd name="connsiteY4" fmla="*/ 3714003 h 769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93433" h="7694248">
                <a:moveTo>
                  <a:pt x="3109" y="3714003"/>
                </a:moveTo>
                <a:cubicBezTo>
                  <a:pt x="-102251" y="2068901"/>
                  <a:pt x="2493316" y="-28710"/>
                  <a:pt x="4339460" y="297"/>
                </a:cubicBezTo>
                <a:cubicBezTo>
                  <a:pt x="6185604" y="29304"/>
                  <a:pt x="8060379" y="358996"/>
                  <a:pt x="8375869" y="3759265"/>
                </a:cubicBezTo>
                <a:cubicBezTo>
                  <a:pt x="8691359" y="7159534"/>
                  <a:pt x="4671655" y="7796726"/>
                  <a:pt x="3168889" y="7681874"/>
                </a:cubicBezTo>
                <a:cubicBezTo>
                  <a:pt x="1666123" y="7567022"/>
                  <a:pt x="108469" y="5359105"/>
                  <a:pt x="3109" y="371400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Shape">
            <a:extLst>
              <a:ext uri="{FF2B5EF4-FFF2-40B4-BE49-F238E27FC236}">
                <a16:creationId xmlns:a16="http://schemas.microsoft.com/office/drawing/2014/main" id="{A1303C49-1F7B-6248-9B46-D7080E4F4AD6}"/>
              </a:ext>
            </a:extLst>
          </p:cNvPr>
          <p:cNvSpPr>
            <a:spLocks/>
          </p:cNvSpPr>
          <p:nvPr userDrawn="1"/>
        </p:nvSpPr>
        <p:spPr bwMode="auto">
          <a:xfrm>
            <a:off x="2763775" y="809386"/>
            <a:ext cx="1974281" cy="1839908"/>
          </a:xfrm>
          <a:custGeom>
            <a:avLst/>
            <a:gdLst>
              <a:gd name="T0" fmla="*/ 6146445 w 21600"/>
              <a:gd name="T1" fmla="*/ 5727383 h 21560"/>
              <a:gd name="T2" fmla="*/ 6146445 w 21600"/>
              <a:gd name="T3" fmla="*/ 5727383 h 21560"/>
              <a:gd name="T4" fmla="*/ 6146445 w 21600"/>
              <a:gd name="T5" fmla="*/ 5727383 h 21560"/>
              <a:gd name="T6" fmla="*/ 6146445 w 21600"/>
              <a:gd name="T7" fmla="*/ 5727383 h 2156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60" extrusionOk="0">
                <a:moveTo>
                  <a:pt x="10614" y="2"/>
                </a:moveTo>
                <a:cubicBezTo>
                  <a:pt x="8214" y="42"/>
                  <a:pt x="5807" y="840"/>
                  <a:pt x="3797" y="2490"/>
                </a:cubicBezTo>
                <a:cubicBezTo>
                  <a:pt x="2726" y="3370"/>
                  <a:pt x="1830" y="4470"/>
                  <a:pt x="1160" y="5725"/>
                </a:cubicBezTo>
                <a:cubicBezTo>
                  <a:pt x="387" y="7027"/>
                  <a:pt x="0" y="8510"/>
                  <a:pt x="0" y="9992"/>
                </a:cubicBezTo>
                <a:cubicBezTo>
                  <a:pt x="0" y="11475"/>
                  <a:pt x="387" y="12957"/>
                  <a:pt x="1160" y="14259"/>
                </a:cubicBezTo>
                <a:cubicBezTo>
                  <a:pt x="1948" y="15512"/>
                  <a:pt x="3019" y="16659"/>
                  <a:pt x="3797" y="17493"/>
                </a:cubicBezTo>
                <a:cubicBezTo>
                  <a:pt x="4575" y="18326"/>
                  <a:pt x="5646" y="19473"/>
                  <a:pt x="6816" y="20317"/>
                </a:cubicBezTo>
                <a:cubicBezTo>
                  <a:pt x="8031" y="21146"/>
                  <a:pt x="9415" y="21560"/>
                  <a:pt x="10799" y="21560"/>
                </a:cubicBezTo>
                <a:cubicBezTo>
                  <a:pt x="12183" y="21560"/>
                  <a:pt x="13567" y="21146"/>
                  <a:pt x="14783" y="20317"/>
                </a:cubicBezTo>
                <a:cubicBezTo>
                  <a:pt x="15952" y="19473"/>
                  <a:pt x="17025" y="18326"/>
                  <a:pt x="17803" y="17493"/>
                </a:cubicBezTo>
                <a:cubicBezTo>
                  <a:pt x="18581" y="16659"/>
                  <a:pt x="19652" y="15512"/>
                  <a:pt x="20440" y="14259"/>
                </a:cubicBezTo>
                <a:cubicBezTo>
                  <a:pt x="21213" y="12957"/>
                  <a:pt x="21600" y="11475"/>
                  <a:pt x="21600" y="9992"/>
                </a:cubicBezTo>
                <a:cubicBezTo>
                  <a:pt x="21600" y="8510"/>
                  <a:pt x="21213" y="7027"/>
                  <a:pt x="20440" y="5725"/>
                </a:cubicBezTo>
                <a:cubicBezTo>
                  <a:pt x="19770" y="4470"/>
                  <a:pt x="18874" y="3370"/>
                  <a:pt x="17803" y="2490"/>
                </a:cubicBezTo>
                <a:cubicBezTo>
                  <a:pt x="15690" y="754"/>
                  <a:pt x="13139" y="-40"/>
                  <a:pt x="10614" y="2"/>
                </a:cubicBezTo>
                <a:close/>
              </a:path>
            </a:pathLst>
          </a:custGeom>
          <a:solidFill>
            <a:schemeClr val="tx1"/>
          </a:solidFill>
          <a:ln>
            <a:noFill/>
          </a:ln>
          <a:effectLst/>
        </p:spPr>
        <p:txBody>
          <a:bodyPr lIns="50800" tIns="50800" rIns="50800" bIns="50800" anchor="ctr"/>
          <a:lstStyle/>
          <a:p>
            <a:endParaRPr lang="en-US" dirty="0">
              <a:solidFill>
                <a:schemeClr val="bg2"/>
              </a:solidFill>
            </a:endParaRPr>
          </a:p>
        </p:txBody>
      </p:sp>
      <p:sp>
        <p:nvSpPr>
          <p:cNvPr id="38" name="Oval 6">
            <a:extLst>
              <a:ext uri="{FF2B5EF4-FFF2-40B4-BE49-F238E27FC236}">
                <a16:creationId xmlns:a16="http://schemas.microsoft.com/office/drawing/2014/main" id="{4993F1A4-A575-EF4C-B2A1-24DA63F09730}"/>
              </a:ext>
            </a:extLst>
          </p:cNvPr>
          <p:cNvSpPr/>
          <p:nvPr userDrawn="1"/>
        </p:nvSpPr>
        <p:spPr>
          <a:xfrm>
            <a:off x="7452683" y="894970"/>
            <a:ext cx="2072492" cy="1668741"/>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ED93E0C-4612-E444-9CF6-16AD0C1EF7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7465" y="5391688"/>
            <a:ext cx="986559" cy="1233471"/>
          </a:xfrm>
          <a:prstGeom prst="rect">
            <a:avLst/>
          </a:prstGeom>
        </p:spPr>
      </p:pic>
      <p:pic>
        <p:nvPicPr>
          <p:cNvPr id="9" name="Picture 8">
            <a:extLst>
              <a:ext uri="{FF2B5EF4-FFF2-40B4-BE49-F238E27FC236}">
                <a16:creationId xmlns:a16="http://schemas.microsoft.com/office/drawing/2014/main" id="{D6B22CE0-0CAE-CC45-A952-727D18FD9D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1407" y="5330014"/>
            <a:ext cx="1266365" cy="1356818"/>
          </a:xfrm>
          <a:prstGeom prst="rect">
            <a:avLst/>
          </a:prstGeom>
        </p:spPr>
      </p:pic>
      <p:pic>
        <p:nvPicPr>
          <p:cNvPr id="13" name="Picture 12">
            <a:extLst>
              <a:ext uri="{FF2B5EF4-FFF2-40B4-BE49-F238E27FC236}">
                <a16:creationId xmlns:a16="http://schemas.microsoft.com/office/drawing/2014/main" id="{14AD3320-E4C2-2647-870D-30CF530235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759236" y="5391688"/>
            <a:ext cx="1151241" cy="1233471"/>
          </a:xfrm>
          <a:prstGeom prst="rect">
            <a:avLst/>
          </a:prstGeom>
        </p:spPr>
      </p:pic>
      <p:pic>
        <p:nvPicPr>
          <p:cNvPr id="16" name="Picture 15">
            <a:extLst>
              <a:ext uri="{FF2B5EF4-FFF2-40B4-BE49-F238E27FC236}">
                <a16:creationId xmlns:a16="http://schemas.microsoft.com/office/drawing/2014/main" id="{02474C9E-056C-2A40-A07C-287B452639B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05832" y="5391688"/>
            <a:ext cx="1151241" cy="1233471"/>
          </a:xfrm>
          <a:prstGeom prst="rect">
            <a:avLst/>
          </a:prstGeom>
        </p:spPr>
      </p:pic>
      <p:pic>
        <p:nvPicPr>
          <p:cNvPr id="20" name="Picture 19">
            <a:extLst>
              <a:ext uri="{FF2B5EF4-FFF2-40B4-BE49-F238E27FC236}">
                <a16:creationId xmlns:a16="http://schemas.microsoft.com/office/drawing/2014/main" id="{F57768AE-5FB9-754E-90D6-9E12689613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01415" y="5391688"/>
            <a:ext cx="1315705" cy="1233471"/>
          </a:xfrm>
          <a:prstGeom prst="rect">
            <a:avLst/>
          </a:prstGeom>
        </p:spPr>
      </p:pic>
      <p:pic>
        <p:nvPicPr>
          <p:cNvPr id="24" name="Picture 23">
            <a:extLst>
              <a:ext uri="{FF2B5EF4-FFF2-40B4-BE49-F238E27FC236}">
                <a16:creationId xmlns:a16="http://schemas.microsoft.com/office/drawing/2014/main" id="{3592D9D1-0256-D449-8C4A-17719744BF3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14115" y="5391688"/>
            <a:ext cx="1069008" cy="1233471"/>
          </a:xfrm>
          <a:prstGeom prst="rect">
            <a:avLst/>
          </a:prstGeom>
        </p:spPr>
      </p:pic>
      <p:pic>
        <p:nvPicPr>
          <p:cNvPr id="36" name="Picture 35">
            <a:extLst>
              <a:ext uri="{FF2B5EF4-FFF2-40B4-BE49-F238E27FC236}">
                <a16:creationId xmlns:a16="http://schemas.microsoft.com/office/drawing/2014/main" id="{66A8B251-2E53-D945-824E-370DD73E45D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829689" y="5391688"/>
            <a:ext cx="740084" cy="1233471"/>
          </a:xfrm>
          <a:prstGeom prst="rect">
            <a:avLst/>
          </a:prstGeom>
        </p:spPr>
      </p:pic>
      <p:pic>
        <p:nvPicPr>
          <p:cNvPr id="40" name="Picture 39">
            <a:extLst>
              <a:ext uri="{FF2B5EF4-FFF2-40B4-BE49-F238E27FC236}">
                <a16:creationId xmlns:a16="http://schemas.microsoft.com/office/drawing/2014/main" id="{F36AF72A-A44F-BB4B-AAC7-DBD3D9347A8A}"/>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728804" y="5391688"/>
            <a:ext cx="1315705" cy="1233471"/>
          </a:xfrm>
          <a:prstGeom prst="rect">
            <a:avLst/>
          </a:prstGeom>
        </p:spPr>
      </p:pic>
      <p:pic>
        <p:nvPicPr>
          <p:cNvPr id="42" name="Picture 41">
            <a:extLst>
              <a:ext uri="{FF2B5EF4-FFF2-40B4-BE49-F238E27FC236}">
                <a16:creationId xmlns:a16="http://schemas.microsoft.com/office/drawing/2014/main" id="{5D36FF29-9E2C-9D40-A9A8-6E73DD593E3E}"/>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7205180" y="5391688"/>
            <a:ext cx="1480167" cy="1233471"/>
          </a:xfrm>
          <a:prstGeom prst="rect">
            <a:avLst/>
          </a:prstGeom>
        </p:spPr>
      </p:pic>
    </p:spTree>
    <p:extLst>
      <p:ext uri="{BB962C8B-B14F-4D97-AF65-F5344CB8AC3E}">
        <p14:creationId xmlns:p14="http://schemas.microsoft.com/office/powerpoint/2010/main" val="3023689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ysco Purpose Line Post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29F205-CB0B-5245-B54B-E44479A7E4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819732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B5DFB5-3B7A-BF4E-962D-3F635473796E}" type="datetime1">
              <a:rPr lang="en-US" smtClean="0"/>
              <a:t>12/21/2021</a:t>
            </a:fld>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82932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DD70FF-1B2E-4C60-8CD2-D6AB25C089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9DD70FF-1B2E-4C60-8CD2-D6AB25C08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4A9D7F-34F0-430A-95BF-85E28F85BC5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A10A65D-A7B5-45AE-BF24-F0C78551C6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4AEB43-B374-4AB6-AFB2-E1760FAA9099}"/>
              </a:ext>
            </a:extLst>
          </p:cNvPr>
          <p:cNvSpPr>
            <a:spLocks noGrp="1"/>
          </p:cNvSpPr>
          <p:nvPr>
            <p:ph type="dt" sz="half" idx="10"/>
          </p:nvPr>
        </p:nvSpPr>
        <p:spPr/>
        <p:txBody>
          <a:bodyPr/>
          <a:lstStyle/>
          <a:p>
            <a:fld id="{1D784531-832B-4F29-81F3-9EBBB59E5305}" type="datetimeFigureOut">
              <a:rPr lang="en-US" smtClean="0"/>
              <a:t>12/21/2021</a:t>
            </a:fld>
            <a:endParaRPr lang="en-US" dirty="0"/>
          </a:p>
        </p:txBody>
      </p:sp>
      <p:sp>
        <p:nvSpPr>
          <p:cNvPr id="5" name="Footer Placeholder 4">
            <a:extLst>
              <a:ext uri="{FF2B5EF4-FFF2-40B4-BE49-F238E27FC236}">
                <a16:creationId xmlns:a16="http://schemas.microsoft.com/office/drawing/2014/main" id="{2FC0C818-35DF-4905-82BA-8F3CA0C8FAA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931509-3D1B-47BC-9FBE-9822A238A0AA}"/>
              </a:ext>
            </a:extLst>
          </p:cNvPr>
          <p:cNvSpPr>
            <a:spLocks noGrp="1"/>
          </p:cNvSpPr>
          <p:nvPr>
            <p:ph type="sldNum" sz="quarter" idx="12"/>
          </p:nvPr>
        </p:nvSpPr>
        <p:spPr/>
        <p:txBody>
          <a:bodyPr/>
          <a:lstStyle/>
          <a:p>
            <a:fld id="{8AEE2006-A59C-43AB-AE03-D764EE201B44}" type="slidenum">
              <a:rPr lang="en-US" smtClean="0"/>
              <a:t>‹N°›</a:t>
            </a:fld>
            <a:endParaRPr lang="en-US" dirty="0"/>
          </a:p>
        </p:txBody>
      </p:sp>
    </p:spTree>
    <p:extLst>
      <p:ext uri="{BB962C8B-B14F-4D97-AF65-F5344CB8AC3E}">
        <p14:creationId xmlns:p14="http://schemas.microsoft.com/office/powerpoint/2010/main" val="42506234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B963A-4688-4022-BF0F-33AB7CA6A29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4036DD3-6188-44BE-8F1B-96072701B9E2}"/>
              </a:ext>
            </a:extLst>
          </p:cNvPr>
          <p:cNvSpPr>
            <a:spLocks noGrp="1"/>
          </p:cNvSpPr>
          <p:nvPr>
            <p:ph type="dt" sz="half" idx="10"/>
          </p:nvPr>
        </p:nvSpPr>
        <p:spPr/>
        <p:txBody>
          <a:bodyPr/>
          <a:lstStyle/>
          <a:p>
            <a:fld id="{AD7224D8-D6B9-4910-B0F4-0CC2177DE3A3}" type="datetimeFigureOut">
              <a:rPr lang="en-US" smtClean="0"/>
              <a:t>12/21/2021</a:t>
            </a:fld>
            <a:endParaRPr lang="en-US" dirty="0"/>
          </a:p>
        </p:txBody>
      </p:sp>
      <p:sp>
        <p:nvSpPr>
          <p:cNvPr id="4" name="Footer Placeholder 3">
            <a:extLst>
              <a:ext uri="{FF2B5EF4-FFF2-40B4-BE49-F238E27FC236}">
                <a16:creationId xmlns:a16="http://schemas.microsoft.com/office/drawing/2014/main" id="{5A67EC65-E560-4909-9438-69E3BE5F31F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4C3795E-5CCC-4EBF-9D6A-A5554607E419}"/>
              </a:ext>
            </a:extLst>
          </p:cNvPr>
          <p:cNvSpPr>
            <a:spLocks noGrp="1"/>
          </p:cNvSpPr>
          <p:nvPr>
            <p:ph type="sldNum" sz="quarter" idx="12"/>
          </p:nvPr>
        </p:nvSpPr>
        <p:spPr/>
        <p:txBody>
          <a:bodyPr/>
          <a:lstStyle/>
          <a:p>
            <a:fld id="{6044E90D-CC6A-423A-BE77-E138C9F9D7A0}" type="slidenum">
              <a:rPr lang="en-US" smtClean="0"/>
              <a:t>‹N°›</a:t>
            </a:fld>
            <a:endParaRPr lang="en-US" dirty="0"/>
          </a:p>
        </p:txBody>
      </p:sp>
    </p:spTree>
    <p:extLst>
      <p:ext uri="{BB962C8B-B14F-4D97-AF65-F5344CB8AC3E}">
        <p14:creationId xmlns:p14="http://schemas.microsoft.com/office/powerpoint/2010/main" val="297836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B5F41"/>
          </a:solidFill>
        </p:spPr>
        <p:txBody>
          <a:bodyPr wrap="square" lIns="0" tIns="0" rIns="0" bIns="0" rtlCol="0"/>
          <a:lstStyle/>
          <a:p>
            <a:endParaRPr dirty="0"/>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10209276" y="5914644"/>
            <a:ext cx="1886712" cy="775716"/>
          </a:xfrm>
          <a:prstGeom prst="rect">
            <a:avLst/>
          </a:prstGeom>
        </p:spPr>
      </p:pic>
      <p:sp>
        <p:nvSpPr>
          <p:cNvPr id="2" name="Holder 2"/>
          <p:cNvSpPr>
            <a:spLocks noGrp="1"/>
          </p:cNvSpPr>
          <p:nvPr>
            <p:ph type="title"/>
          </p:nvPr>
        </p:nvSpPr>
        <p:spPr/>
        <p:txBody>
          <a:bodyPr lIns="0" tIns="0" rIns="0" bIns="0"/>
          <a:lstStyle>
            <a:lvl1pPr>
              <a:defRPr sz="3000" b="1" i="0">
                <a:solidFill>
                  <a:srgbClr val="252160"/>
                </a:solidFill>
                <a:latin typeface="Segoe UI"/>
                <a:cs typeface="Segoe U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ère Slide">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9E89366-DB76-41D3-879C-F41CFE91A353}"/>
              </a:ext>
            </a:extLst>
          </p:cNvPr>
          <p:cNvSpPr/>
          <p:nvPr userDrawn="1"/>
        </p:nvSpPr>
        <p:spPr>
          <a:xfrm>
            <a:off x="2831637" y="1484785"/>
            <a:ext cx="6912768" cy="3888431"/>
          </a:xfrm>
          <a:prstGeom prst="rect">
            <a:avLst/>
          </a:prstGeom>
          <a:solidFill>
            <a:srgbClr val="0081C6"/>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3" name="Image 2" descr="Une image contenant assis, portable, table&#10;&#10;Description générée avec un niveau de confiance très élevé">
            <a:extLst>
              <a:ext uri="{FF2B5EF4-FFF2-40B4-BE49-F238E27FC236}">
                <a16:creationId xmlns:a16="http://schemas.microsoft.com/office/drawing/2014/main" id="{48EA013B-0E66-4D9C-94FE-8FF2F04272C1}"/>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0" y="-4908"/>
            <a:ext cx="3048000" cy="1710000"/>
          </a:xfrm>
          <a:prstGeom prst="rect">
            <a:avLst/>
          </a:prstGeom>
          <a:ln w="19050">
            <a:noFill/>
          </a:ln>
        </p:spPr>
      </p:pic>
      <p:pic>
        <p:nvPicPr>
          <p:cNvPr id="5" name="Image 4" descr="Une image contenant homme, personne, armoire&#10;&#10;Description générée avec un niveau de confiance très élevé">
            <a:extLst>
              <a:ext uri="{FF2B5EF4-FFF2-40B4-BE49-F238E27FC236}">
                <a16:creationId xmlns:a16="http://schemas.microsoft.com/office/drawing/2014/main" id="{71B59681-58C6-4F37-AD8E-5FE48A95A6DA}"/>
              </a:ext>
            </a:extLst>
          </p:cNvPr>
          <p:cNvPicPr preferRelativeResize="0">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3047936" y="0"/>
            <a:ext cx="3048000" cy="1710000"/>
          </a:xfrm>
          <a:prstGeom prst="rect">
            <a:avLst/>
          </a:prstGeom>
          <a:ln w="19050">
            <a:noFill/>
          </a:ln>
        </p:spPr>
      </p:pic>
      <p:pic>
        <p:nvPicPr>
          <p:cNvPr id="7" name="Image 6" descr="Une image contenant personne, intérieur, mur, alimentation&#10;&#10;Description générée avec un niveau de confiance très élevé">
            <a:extLst>
              <a:ext uri="{FF2B5EF4-FFF2-40B4-BE49-F238E27FC236}">
                <a16:creationId xmlns:a16="http://schemas.microsoft.com/office/drawing/2014/main" id="{136EB3FC-DC0B-412B-AF16-80478BD6E4FD}"/>
              </a:ext>
            </a:extLst>
          </p:cNvPr>
          <p:cNvPicPr preferRelativeResize="0">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6096000" y="0"/>
            <a:ext cx="3048000" cy="1710000"/>
          </a:xfrm>
          <a:prstGeom prst="rect">
            <a:avLst/>
          </a:prstGeom>
          <a:ln w="19050">
            <a:noFill/>
          </a:ln>
        </p:spPr>
      </p:pic>
      <p:pic>
        <p:nvPicPr>
          <p:cNvPr id="11" name="Image 10" descr="Une image contenant extérieur, ciel, bateau, personne&#10;&#10;Description générée avec un niveau de confiance très élevé">
            <a:extLst>
              <a:ext uri="{FF2B5EF4-FFF2-40B4-BE49-F238E27FC236}">
                <a16:creationId xmlns:a16="http://schemas.microsoft.com/office/drawing/2014/main" id="{E0B6FB83-F061-433E-8F62-B52DB7650D5E}"/>
              </a:ext>
            </a:extLst>
          </p:cNvPr>
          <p:cNvPicPr preferRelativeResize="0">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143936" y="0"/>
            <a:ext cx="3048000" cy="1710000"/>
          </a:xfrm>
          <a:prstGeom prst="rect">
            <a:avLst/>
          </a:prstGeom>
          <a:ln w="19050">
            <a:noFill/>
          </a:ln>
        </p:spPr>
      </p:pic>
      <p:pic>
        <p:nvPicPr>
          <p:cNvPr id="15" name="Image 14" descr="Une image contenant vache, bâtiment, animal, mammifère&#10;&#10;Description générée avec un niveau de confiance très élevé">
            <a:extLst>
              <a:ext uri="{FF2B5EF4-FFF2-40B4-BE49-F238E27FC236}">
                <a16:creationId xmlns:a16="http://schemas.microsoft.com/office/drawing/2014/main" id="{390D65DE-DF65-4C86-B171-E679D8891AE0}"/>
              </a:ext>
            </a:extLst>
          </p:cNvPr>
          <p:cNvPicPr preferRelativeResize="0">
            <a:picLocks/>
          </p:cNvPicPr>
          <p:nvPr userDrawn="1"/>
        </p:nvPicPr>
        <p:blipFill rotWithShape="1">
          <a:blip r:embed="rId6" cstate="email">
            <a:extLst>
              <a:ext uri="{28A0092B-C50C-407E-A947-70E740481C1C}">
                <a14:useLocalDpi xmlns:a14="http://schemas.microsoft.com/office/drawing/2010/main"/>
              </a:ext>
            </a:extLst>
          </a:blip>
          <a:srcRect/>
          <a:stretch/>
        </p:blipFill>
        <p:spPr>
          <a:xfrm>
            <a:off x="0" y="1705092"/>
            <a:ext cx="3048000" cy="1710000"/>
          </a:xfrm>
          <a:prstGeom prst="rect">
            <a:avLst/>
          </a:prstGeom>
          <a:ln w="19050">
            <a:noFill/>
          </a:ln>
        </p:spPr>
      </p:pic>
      <p:pic>
        <p:nvPicPr>
          <p:cNvPr id="20" name="Image 19" descr="Une image contenant bâtiment, entrepôt, scène, intérieur&#10;&#10;Description générée avec un niveau de confiance élevé">
            <a:extLst>
              <a:ext uri="{FF2B5EF4-FFF2-40B4-BE49-F238E27FC236}">
                <a16:creationId xmlns:a16="http://schemas.microsoft.com/office/drawing/2014/main" id="{6F85FB34-CFC8-4666-9908-0E21F14E2D12}"/>
              </a:ext>
            </a:extLst>
          </p:cNvPr>
          <p:cNvPicPr preferRelativeResize="0">
            <a:picLocks/>
          </p:cNvPicPr>
          <p:nvPr userDrawn="1"/>
        </p:nvPicPr>
        <p:blipFill rotWithShape="1">
          <a:blip r:embed="rId7" cstate="email">
            <a:extLst>
              <a:ext uri="{28A0092B-C50C-407E-A947-70E740481C1C}">
                <a14:useLocalDpi xmlns:a14="http://schemas.microsoft.com/office/drawing/2010/main"/>
              </a:ext>
            </a:extLst>
          </a:blip>
          <a:srcRect/>
          <a:stretch/>
        </p:blipFill>
        <p:spPr>
          <a:xfrm>
            <a:off x="0" y="3420000"/>
            <a:ext cx="3048000" cy="1735453"/>
          </a:xfrm>
          <a:prstGeom prst="rect">
            <a:avLst/>
          </a:prstGeom>
          <a:ln w="19050">
            <a:noFill/>
          </a:ln>
        </p:spPr>
      </p:pic>
      <p:pic>
        <p:nvPicPr>
          <p:cNvPr id="24" name="Image 23" descr="Une image contenant voiture, personne, homme, portable&#10;&#10;Description générée avec un niveau de confiance très élevé">
            <a:extLst>
              <a:ext uri="{FF2B5EF4-FFF2-40B4-BE49-F238E27FC236}">
                <a16:creationId xmlns:a16="http://schemas.microsoft.com/office/drawing/2014/main" id="{CC5C46A7-A60D-4ED5-9B75-44FEAEEE638D}"/>
              </a:ext>
            </a:extLst>
          </p:cNvPr>
          <p:cNvPicPr preferRelativeResize="0">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0" y="5156361"/>
            <a:ext cx="3048000" cy="1710000"/>
          </a:xfrm>
          <a:prstGeom prst="rect">
            <a:avLst/>
          </a:prstGeom>
          <a:ln w="19050">
            <a:noFill/>
          </a:ln>
        </p:spPr>
      </p:pic>
      <p:pic>
        <p:nvPicPr>
          <p:cNvPr id="30" name="Image 29" descr="Une image contenant intérieur, mur, assis, portable&#10;&#10;Description générée avec un niveau de confiance très élevé">
            <a:extLst>
              <a:ext uri="{FF2B5EF4-FFF2-40B4-BE49-F238E27FC236}">
                <a16:creationId xmlns:a16="http://schemas.microsoft.com/office/drawing/2014/main" id="{02B35DB1-8E4F-4A76-8D17-8A8F6C985DA7}"/>
              </a:ext>
            </a:extLst>
          </p:cNvPr>
          <p:cNvPicPr preferRelativeResize="0">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097253" y="5157269"/>
            <a:ext cx="3048000" cy="1710000"/>
          </a:xfrm>
          <a:prstGeom prst="rect">
            <a:avLst/>
          </a:prstGeom>
          <a:ln w="19050">
            <a:noFill/>
          </a:ln>
        </p:spPr>
      </p:pic>
      <p:pic>
        <p:nvPicPr>
          <p:cNvPr id="32" name="Image 31" descr="Une image contenant personne, intérieur, alimentation, homme&#10;&#10;Description générée avec un niveau de confiance très élevé">
            <a:extLst>
              <a:ext uri="{FF2B5EF4-FFF2-40B4-BE49-F238E27FC236}">
                <a16:creationId xmlns:a16="http://schemas.microsoft.com/office/drawing/2014/main" id="{5B4D7F5A-242C-42BB-BCC8-97F466DE826C}"/>
              </a:ext>
            </a:extLst>
          </p:cNvPr>
          <p:cNvPicPr preferRelativeResize="0">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3048627" y="5157269"/>
            <a:ext cx="3048000" cy="1710000"/>
          </a:xfrm>
          <a:prstGeom prst="rect">
            <a:avLst/>
          </a:prstGeom>
          <a:ln w="19050">
            <a:noFill/>
          </a:ln>
        </p:spPr>
      </p:pic>
      <p:pic>
        <p:nvPicPr>
          <p:cNvPr id="37" name="Image 36">
            <a:extLst>
              <a:ext uri="{FF2B5EF4-FFF2-40B4-BE49-F238E27FC236}">
                <a16:creationId xmlns:a16="http://schemas.microsoft.com/office/drawing/2014/main" id="{F8A64D87-E05D-4F74-822E-6E88134D7A9A}"/>
              </a:ext>
            </a:extLst>
          </p:cNvPr>
          <p:cNvPicPr preferRelativeResize="0">
            <a:picLocks/>
          </p:cNvPicPr>
          <p:nvPr userDrawn="1"/>
        </p:nvPicPr>
        <p:blipFill rotWithShape="1">
          <a:blip r:embed="rId11" cstate="email">
            <a:extLst>
              <a:ext uri="{28A0092B-C50C-407E-A947-70E740481C1C}">
                <a14:useLocalDpi xmlns:a14="http://schemas.microsoft.com/office/drawing/2010/main"/>
              </a:ext>
            </a:extLst>
          </a:blip>
          <a:srcRect/>
          <a:stretch/>
        </p:blipFill>
        <p:spPr>
          <a:xfrm>
            <a:off x="9145879" y="5157269"/>
            <a:ext cx="3048000" cy="1710000"/>
          </a:xfrm>
          <a:prstGeom prst="rect">
            <a:avLst/>
          </a:prstGeom>
          <a:ln w="19050">
            <a:noFill/>
          </a:ln>
        </p:spPr>
      </p:pic>
      <p:pic>
        <p:nvPicPr>
          <p:cNvPr id="39" name="Image 38">
            <a:extLst>
              <a:ext uri="{FF2B5EF4-FFF2-40B4-BE49-F238E27FC236}">
                <a16:creationId xmlns:a16="http://schemas.microsoft.com/office/drawing/2014/main" id="{A3408D1A-0133-406B-9597-432A9543CA75}"/>
              </a:ext>
            </a:extLst>
          </p:cNvPr>
          <p:cNvPicPr preferRelativeResize="0">
            <a:picLocks/>
          </p:cNvPicPr>
          <p:nvPr userDrawn="1"/>
        </p:nvPicPr>
        <p:blipFill rotWithShape="1">
          <a:blip r:embed="rId12" cstate="email">
            <a:extLst>
              <a:ext uri="{28A0092B-C50C-407E-A947-70E740481C1C}">
                <a14:useLocalDpi xmlns:a14="http://schemas.microsoft.com/office/drawing/2010/main"/>
              </a:ext>
            </a:extLst>
          </a:blip>
          <a:srcRect/>
          <a:stretch/>
        </p:blipFill>
        <p:spPr>
          <a:xfrm>
            <a:off x="9143936" y="1700695"/>
            <a:ext cx="3048000" cy="1710000"/>
          </a:xfrm>
          <a:prstGeom prst="rect">
            <a:avLst/>
          </a:prstGeom>
          <a:ln w="19050">
            <a:noFill/>
          </a:ln>
        </p:spPr>
      </p:pic>
      <p:pic>
        <p:nvPicPr>
          <p:cNvPr id="41" name="Image 40">
            <a:extLst>
              <a:ext uri="{FF2B5EF4-FFF2-40B4-BE49-F238E27FC236}">
                <a16:creationId xmlns:a16="http://schemas.microsoft.com/office/drawing/2014/main" id="{E398E9E7-7FEB-4AAD-BB6A-8F607C270DBC}"/>
              </a:ext>
            </a:extLst>
          </p:cNvPr>
          <p:cNvPicPr preferRelativeResize="0">
            <a:picLocks/>
          </p:cNvPicPr>
          <p:nvPr userDrawn="1"/>
        </p:nvPicPr>
        <p:blipFill rotWithShape="1">
          <a:blip r:embed="rId13" cstate="email">
            <a:extLst>
              <a:ext uri="{28A0092B-C50C-407E-A947-70E740481C1C}">
                <a14:useLocalDpi xmlns:a14="http://schemas.microsoft.com/office/drawing/2010/main"/>
              </a:ext>
            </a:extLst>
          </a:blip>
          <a:srcRect/>
          <a:stretch/>
        </p:blipFill>
        <p:spPr>
          <a:xfrm>
            <a:off x="9143936" y="3419210"/>
            <a:ext cx="3048000" cy="1735452"/>
          </a:xfrm>
          <a:prstGeom prst="rect">
            <a:avLst/>
          </a:prstGeom>
          <a:ln w="19050">
            <a:noFill/>
          </a:ln>
        </p:spPr>
      </p:pic>
      <p:pic>
        <p:nvPicPr>
          <p:cNvPr id="9" name="Image 8">
            <a:extLst>
              <a:ext uri="{FF2B5EF4-FFF2-40B4-BE49-F238E27FC236}">
                <a16:creationId xmlns:a16="http://schemas.microsoft.com/office/drawing/2014/main" id="{2018BF15-C5FD-4F41-8C3A-4E9D8DBF940D}"/>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5283843" y="4401394"/>
            <a:ext cx="1664780" cy="494079"/>
          </a:xfrm>
          <a:prstGeom prst="rect">
            <a:avLst/>
          </a:prstGeom>
        </p:spPr>
      </p:pic>
      <p:sp>
        <p:nvSpPr>
          <p:cNvPr id="10" name="Titre 9">
            <a:extLst>
              <a:ext uri="{FF2B5EF4-FFF2-40B4-BE49-F238E27FC236}">
                <a16:creationId xmlns:a16="http://schemas.microsoft.com/office/drawing/2014/main" id="{91E02206-ACB8-4AFA-89DE-2738EE8BC139}"/>
              </a:ext>
            </a:extLst>
          </p:cNvPr>
          <p:cNvSpPr>
            <a:spLocks noGrp="1"/>
          </p:cNvSpPr>
          <p:nvPr>
            <p:ph type="title"/>
          </p:nvPr>
        </p:nvSpPr>
        <p:spPr>
          <a:xfrm>
            <a:off x="3075764" y="2511505"/>
            <a:ext cx="6080933" cy="673966"/>
          </a:xfrm>
          <a:prstGeom prst="rect">
            <a:avLst/>
          </a:prstGeom>
        </p:spPr>
        <p:txBody>
          <a:bodyPr anchor="ctr"/>
          <a:lstStyle>
            <a:lvl1pPr algn="ctr">
              <a:defRPr sz="2400" b="1">
                <a:solidFill>
                  <a:schemeClr val="bg1"/>
                </a:solidFill>
              </a:defRPr>
            </a:lvl1pPr>
          </a:lstStyle>
          <a:p>
            <a:r>
              <a:rPr lang="fr-FR" dirty="0"/>
              <a:t>Modifiez le style du titre</a:t>
            </a:r>
          </a:p>
        </p:txBody>
      </p:sp>
      <p:sp>
        <p:nvSpPr>
          <p:cNvPr id="18" name="Espace réservé du texte 17">
            <a:extLst>
              <a:ext uri="{FF2B5EF4-FFF2-40B4-BE49-F238E27FC236}">
                <a16:creationId xmlns:a16="http://schemas.microsoft.com/office/drawing/2014/main" id="{26C4E113-80DC-4E1E-9126-3D189EE71C22}"/>
              </a:ext>
            </a:extLst>
          </p:cNvPr>
          <p:cNvSpPr>
            <a:spLocks noGrp="1"/>
          </p:cNvSpPr>
          <p:nvPr>
            <p:ph type="body" sz="quarter" idx="10" hasCustomPrompt="1"/>
          </p:nvPr>
        </p:nvSpPr>
        <p:spPr>
          <a:xfrm>
            <a:off x="3106834" y="3304009"/>
            <a:ext cx="6080935" cy="673966"/>
          </a:xfrm>
          <a:prstGeom prst="rect">
            <a:avLst/>
          </a:prstGeom>
        </p:spPr>
        <p:txBody>
          <a:bodyPr anchor="ctr"/>
          <a:lstStyle>
            <a:lvl1pPr marL="0" indent="0" algn="ctr">
              <a:buNone/>
              <a:defRPr sz="2000" b="1">
                <a:solidFill>
                  <a:schemeClr val="bg1"/>
                </a:solidFill>
              </a:defRPr>
            </a:lvl1pPr>
          </a:lstStyle>
          <a:p>
            <a:pPr lvl="0"/>
            <a:r>
              <a:rPr lang="fr-FR" dirty="0"/>
              <a:t>Modifiez le sous titre</a:t>
            </a:r>
          </a:p>
        </p:txBody>
      </p:sp>
    </p:spTree>
    <p:extLst>
      <p:ext uri="{BB962C8B-B14F-4D97-AF65-F5344CB8AC3E}">
        <p14:creationId xmlns:p14="http://schemas.microsoft.com/office/powerpoint/2010/main" val="7184402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lide de titr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E43AAC4-D0CE-4CD4-9FE5-31C7E8DE09CB}"/>
              </a:ext>
            </a:extLst>
          </p:cNvPr>
          <p:cNvSpPr/>
          <p:nvPr userDrawn="1"/>
        </p:nvSpPr>
        <p:spPr>
          <a:xfrm>
            <a:off x="0" y="6138000"/>
            <a:ext cx="12192000" cy="720000"/>
          </a:xfrm>
          <a:prstGeom prst="rect">
            <a:avLst/>
          </a:prstGeom>
          <a:solidFill>
            <a:srgbClr val="0081C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4" name="Image 3">
            <a:extLst>
              <a:ext uri="{FF2B5EF4-FFF2-40B4-BE49-F238E27FC236}">
                <a16:creationId xmlns:a16="http://schemas.microsoft.com/office/drawing/2014/main" id="{A5BF93B4-6888-4A59-9E1B-CE7E802BC6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23000" y="6357121"/>
            <a:ext cx="960000" cy="284912"/>
          </a:xfrm>
          <a:prstGeom prst="rect">
            <a:avLst/>
          </a:prstGeom>
        </p:spPr>
      </p:pic>
      <p:sp>
        <p:nvSpPr>
          <p:cNvPr id="6" name="Titre 5">
            <a:extLst>
              <a:ext uri="{FF2B5EF4-FFF2-40B4-BE49-F238E27FC236}">
                <a16:creationId xmlns:a16="http://schemas.microsoft.com/office/drawing/2014/main" id="{E39D3330-67E1-4D2B-90B0-B6B34EEDB0BC}"/>
              </a:ext>
            </a:extLst>
          </p:cNvPr>
          <p:cNvSpPr>
            <a:spLocks noGrp="1"/>
          </p:cNvSpPr>
          <p:nvPr>
            <p:ph type="title"/>
          </p:nvPr>
        </p:nvSpPr>
        <p:spPr>
          <a:xfrm>
            <a:off x="788337" y="2211186"/>
            <a:ext cx="10515600" cy="579843"/>
          </a:xfrm>
          <a:prstGeom prst="rect">
            <a:avLst/>
          </a:prstGeom>
        </p:spPr>
        <p:txBody>
          <a:bodyPr anchor="ctr"/>
          <a:lstStyle>
            <a:lvl1pPr algn="ctr">
              <a:defRPr sz="3200" b="1">
                <a:solidFill>
                  <a:srgbClr val="0081C6"/>
                </a:solidFill>
              </a:defRPr>
            </a:lvl1pPr>
          </a:lstStyle>
          <a:p>
            <a:r>
              <a:rPr lang="fr-FR" dirty="0"/>
              <a:t>Modifiez le style du titre</a:t>
            </a:r>
          </a:p>
        </p:txBody>
      </p:sp>
      <p:sp>
        <p:nvSpPr>
          <p:cNvPr id="8" name="Espace réservé du texte 7">
            <a:extLst>
              <a:ext uri="{FF2B5EF4-FFF2-40B4-BE49-F238E27FC236}">
                <a16:creationId xmlns:a16="http://schemas.microsoft.com/office/drawing/2014/main" id="{BB18B1AD-4145-4541-B264-58D61178105A}"/>
              </a:ext>
            </a:extLst>
          </p:cNvPr>
          <p:cNvSpPr>
            <a:spLocks noGrp="1"/>
          </p:cNvSpPr>
          <p:nvPr>
            <p:ph type="body" sz="quarter" idx="14" hasCustomPrompt="1"/>
          </p:nvPr>
        </p:nvSpPr>
        <p:spPr>
          <a:xfrm>
            <a:off x="787400" y="2959101"/>
            <a:ext cx="10515600" cy="579843"/>
          </a:xfrm>
          <a:prstGeom prst="rect">
            <a:avLst/>
          </a:prstGeom>
        </p:spPr>
        <p:txBody>
          <a:bodyPr anchor="ctr"/>
          <a:lstStyle>
            <a:lvl1pPr marL="0" indent="0" algn="ctr">
              <a:buNone/>
              <a:defRPr sz="2400">
                <a:solidFill>
                  <a:srgbClr val="757B82"/>
                </a:solidFill>
              </a:defRPr>
            </a:lvl1pPr>
            <a:lvl2pPr>
              <a:defRPr sz="1800"/>
            </a:lvl2pPr>
            <a:lvl3pPr>
              <a:defRPr sz="1600"/>
            </a:lvl3pPr>
            <a:lvl4pPr>
              <a:defRPr sz="1400"/>
            </a:lvl4pPr>
            <a:lvl5pPr>
              <a:defRPr sz="1400"/>
            </a:lvl5pPr>
          </a:lstStyle>
          <a:p>
            <a:pPr lvl="0"/>
            <a:r>
              <a:rPr lang="fr-FR" dirty="0"/>
              <a:t>Modifiez le sous titre</a:t>
            </a:r>
          </a:p>
        </p:txBody>
      </p:sp>
      <p:sp>
        <p:nvSpPr>
          <p:cNvPr id="5" name="Shape 8">
            <a:extLst>
              <a:ext uri="{FF2B5EF4-FFF2-40B4-BE49-F238E27FC236}">
                <a16:creationId xmlns:a16="http://schemas.microsoft.com/office/drawing/2014/main" id="{56E00AEB-1AB2-4766-A394-E035B02919C0}"/>
              </a:ext>
            </a:extLst>
          </p:cNvPr>
          <p:cNvSpPr txBox="1">
            <a:spLocks noGrp="1"/>
          </p:cNvSpPr>
          <p:nvPr>
            <p:ph type="sldNum" idx="13"/>
          </p:nvPr>
        </p:nvSpPr>
        <p:spPr>
          <a:xfrm>
            <a:off x="0" y="6402000"/>
            <a:ext cx="480000" cy="192000"/>
          </a:xfrm>
          <a:prstGeom prst="rect">
            <a:avLst/>
          </a:prstGeom>
          <a:solidFill>
            <a:schemeClr val="bg1"/>
          </a:solidFill>
          <a:ln>
            <a:noFill/>
          </a:ln>
        </p:spPr>
        <p:txBody>
          <a:bodyPr spcFirstLastPara="1" wrap="square" lIns="36000" tIns="91425" rIns="36000" bIns="91425" anchor="ctr" anchorCtr="0">
            <a:noAutofit/>
          </a:bodyPr>
          <a:lstStyle>
            <a:lvl1pPr marL="0" marR="0" lvl="0" indent="0" algn="ctr" rtl="0">
              <a:lnSpc>
                <a:spcPct val="100000"/>
              </a:lnSpc>
              <a:spcBef>
                <a:spcPts val="0"/>
              </a:spcBef>
              <a:spcAft>
                <a:spcPts val="0"/>
              </a:spcAft>
              <a:buClr>
                <a:schemeClr val="dk2"/>
              </a:buClr>
              <a:buSzPts val="1000"/>
              <a:buFont typeface="Arial"/>
              <a:buNone/>
              <a:defRPr sz="800" b="1" i="0" u="none" strike="noStrike" cap="none" baseline="0">
                <a:solidFill>
                  <a:srgbClr val="757B82"/>
                </a:solidFill>
                <a:latin typeface="Verdana" panose="020B0604030504040204" pitchFamily="34" charset="0"/>
                <a:ea typeface="Verdana" panose="020B0604030504040204" pitchFamily="34" charset="0"/>
                <a:cs typeface="Verdana" panose="020B0604030504040204" pitchFamily="34" charset="0"/>
                <a:sym typeface="Arial"/>
              </a:defRPr>
            </a:lvl1pPr>
            <a:lvl2pPr marL="0" marR="0" lvl="1"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N°›</a:t>
            </a:fld>
            <a:endParaRPr lang="en" dirty="0"/>
          </a:p>
        </p:txBody>
      </p:sp>
    </p:spTree>
    <p:extLst>
      <p:ext uri="{BB962C8B-B14F-4D97-AF65-F5344CB8AC3E}">
        <p14:creationId xmlns:p14="http://schemas.microsoft.com/office/powerpoint/2010/main" val="22831116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lide de texte avec point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9B4DA2-0F94-413B-B65D-EDC99516BCA1}"/>
              </a:ext>
            </a:extLst>
          </p:cNvPr>
          <p:cNvSpPr/>
          <p:nvPr userDrawn="1"/>
        </p:nvSpPr>
        <p:spPr>
          <a:xfrm>
            <a:off x="0" y="6132875"/>
            <a:ext cx="12192000" cy="720000"/>
          </a:xfrm>
          <a:prstGeom prst="rect">
            <a:avLst/>
          </a:prstGeom>
          <a:solidFill>
            <a:srgbClr val="0081C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6" name="Titre 5">
            <a:extLst>
              <a:ext uri="{FF2B5EF4-FFF2-40B4-BE49-F238E27FC236}">
                <a16:creationId xmlns:a16="http://schemas.microsoft.com/office/drawing/2014/main" id="{E39D3330-67E1-4D2B-90B0-B6B34EEDB0BC}"/>
              </a:ext>
            </a:extLst>
          </p:cNvPr>
          <p:cNvSpPr>
            <a:spLocks noGrp="1"/>
          </p:cNvSpPr>
          <p:nvPr>
            <p:ph type="title" hasCustomPrompt="1"/>
          </p:nvPr>
        </p:nvSpPr>
        <p:spPr>
          <a:xfrm>
            <a:off x="838200" y="365126"/>
            <a:ext cx="10515600" cy="366395"/>
          </a:xfrm>
          <a:prstGeom prst="rect">
            <a:avLst/>
          </a:prstGeom>
        </p:spPr>
        <p:txBody>
          <a:bodyPr anchor="ctr"/>
          <a:lstStyle>
            <a:lvl1pPr>
              <a:defRPr sz="2000" b="1">
                <a:solidFill>
                  <a:srgbClr val="0081C6"/>
                </a:solidFill>
              </a:defRPr>
            </a:lvl1pPr>
          </a:lstStyle>
          <a:p>
            <a:r>
              <a:rPr lang="fr-FR" dirty="0"/>
              <a:t>MODIFIEZ LE STYLE DU TITRE</a:t>
            </a:r>
          </a:p>
        </p:txBody>
      </p:sp>
      <p:sp>
        <p:nvSpPr>
          <p:cNvPr id="17" name="Espace réservé du texte 16">
            <a:extLst>
              <a:ext uri="{FF2B5EF4-FFF2-40B4-BE49-F238E27FC236}">
                <a16:creationId xmlns:a16="http://schemas.microsoft.com/office/drawing/2014/main" id="{5B029667-3AA0-4427-B4A5-8DC63AFC58ED}"/>
              </a:ext>
            </a:extLst>
          </p:cNvPr>
          <p:cNvSpPr>
            <a:spLocks noGrp="1"/>
          </p:cNvSpPr>
          <p:nvPr>
            <p:ph type="body" sz="quarter" idx="14"/>
          </p:nvPr>
        </p:nvSpPr>
        <p:spPr>
          <a:xfrm>
            <a:off x="838200" y="949064"/>
            <a:ext cx="10515600" cy="4971392"/>
          </a:xfrm>
          <a:prstGeom prst="rect">
            <a:avLst/>
          </a:prstGeom>
        </p:spPr>
        <p:txBody>
          <a:bodyPr/>
          <a:lstStyle>
            <a:lvl1pPr>
              <a:defRPr sz="1600">
                <a:solidFill>
                  <a:srgbClr val="757B82"/>
                </a:solidFill>
              </a:defRPr>
            </a:lvl1pPr>
            <a:lvl2pPr>
              <a:defRPr sz="1600">
                <a:solidFill>
                  <a:srgbClr val="757B82"/>
                </a:solidFill>
              </a:defRPr>
            </a:lvl2pPr>
            <a:lvl3pPr>
              <a:defRPr sz="1600">
                <a:solidFill>
                  <a:srgbClr val="757B82"/>
                </a:solidFill>
              </a:defRPr>
            </a:lvl3pPr>
            <a:lvl4pPr>
              <a:defRPr sz="1600">
                <a:solidFill>
                  <a:srgbClr val="757B82"/>
                </a:solidFill>
              </a:defRPr>
            </a:lvl4pPr>
            <a:lvl5pPr>
              <a:defRPr sz="1600">
                <a:solidFill>
                  <a:srgbClr val="757B82"/>
                </a:solidFill>
              </a:defRPr>
            </a:lvl5pPr>
            <a:lvl6pPr marL="2286000" indent="0">
              <a:buNone/>
              <a:defRPr/>
            </a:lvl6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endParaRPr lang="fr-FR" dirty="0"/>
          </a:p>
        </p:txBody>
      </p:sp>
      <p:sp>
        <p:nvSpPr>
          <p:cNvPr id="11" name="Shape 8">
            <a:extLst>
              <a:ext uri="{FF2B5EF4-FFF2-40B4-BE49-F238E27FC236}">
                <a16:creationId xmlns:a16="http://schemas.microsoft.com/office/drawing/2014/main" id="{0A5F0480-7EB3-4656-8068-D54DC484E51A}"/>
              </a:ext>
            </a:extLst>
          </p:cNvPr>
          <p:cNvSpPr txBox="1">
            <a:spLocks noGrp="1"/>
          </p:cNvSpPr>
          <p:nvPr>
            <p:ph type="sldNum" idx="13"/>
          </p:nvPr>
        </p:nvSpPr>
        <p:spPr>
          <a:xfrm>
            <a:off x="1808" y="6396875"/>
            <a:ext cx="480000" cy="192000"/>
          </a:xfrm>
          <a:prstGeom prst="rect">
            <a:avLst/>
          </a:prstGeom>
          <a:solidFill>
            <a:schemeClr val="bg1"/>
          </a:solidFill>
          <a:ln>
            <a:noFill/>
          </a:ln>
        </p:spPr>
        <p:txBody>
          <a:bodyPr spcFirstLastPara="1" wrap="square" lIns="36000" tIns="91425" rIns="36000" bIns="91425" anchor="ctr" anchorCtr="0">
            <a:noAutofit/>
          </a:bodyPr>
          <a:lstStyle>
            <a:lvl1pPr marL="0" marR="0" lvl="0" indent="0" algn="ctr" rtl="0">
              <a:lnSpc>
                <a:spcPct val="100000"/>
              </a:lnSpc>
              <a:spcBef>
                <a:spcPts val="0"/>
              </a:spcBef>
              <a:spcAft>
                <a:spcPts val="0"/>
              </a:spcAft>
              <a:buClr>
                <a:schemeClr val="dk2"/>
              </a:buClr>
              <a:buSzPts val="1000"/>
              <a:buFont typeface="Arial"/>
              <a:buNone/>
              <a:defRPr sz="800" b="1" i="0" u="none" strike="noStrike" cap="none" baseline="0">
                <a:solidFill>
                  <a:srgbClr val="757B82"/>
                </a:solidFill>
                <a:latin typeface="Verdana" panose="020B0604030504040204" pitchFamily="34" charset="0"/>
                <a:ea typeface="Verdana" panose="020B0604030504040204" pitchFamily="34" charset="0"/>
                <a:cs typeface="Verdana" panose="020B0604030504040204" pitchFamily="34" charset="0"/>
                <a:sym typeface="Arial"/>
              </a:defRPr>
            </a:lvl1pPr>
            <a:lvl2pPr marL="0" marR="0" lvl="1"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N°›</a:t>
            </a:fld>
            <a:endParaRPr lang="en" dirty="0"/>
          </a:p>
        </p:txBody>
      </p:sp>
      <p:pic>
        <p:nvPicPr>
          <p:cNvPr id="14" name="Image 13">
            <a:extLst>
              <a:ext uri="{FF2B5EF4-FFF2-40B4-BE49-F238E27FC236}">
                <a16:creationId xmlns:a16="http://schemas.microsoft.com/office/drawing/2014/main" id="{110A11F3-E8AA-429D-A030-5784966460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23000" y="6357121"/>
            <a:ext cx="960000" cy="284912"/>
          </a:xfrm>
          <a:prstGeom prst="rect">
            <a:avLst/>
          </a:prstGeom>
        </p:spPr>
      </p:pic>
    </p:spTree>
    <p:extLst>
      <p:ext uri="{BB962C8B-B14F-4D97-AF65-F5344CB8AC3E}">
        <p14:creationId xmlns:p14="http://schemas.microsoft.com/office/powerpoint/2010/main" val="24393930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1" name="Oval 1">
            <a:extLst>
              <a:ext uri="{FF2B5EF4-FFF2-40B4-BE49-F238E27FC236}">
                <a16:creationId xmlns:a16="http://schemas.microsoft.com/office/drawing/2014/main" id="{0E365B36-5093-3F47-9B5E-676A3E044C3E}"/>
              </a:ext>
            </a:extLst>
          </p:cNvPr>
          <p:cNvSpPr/>
          <p:nvPr userDrawn="1"/>
        </p:nvSpPr>
        <p:spPr>
          <a:xfrm>
            <a:off x="2678523" y="618618"/>
            <a:ext cx="6834951" cy="5620764"/>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tx2"/>
          </a:solidFill>
          <a:ln>
            <a:noFill/>
          </a:ln>
          <a:effectLst>
            <a:outerShdw blurRad="1905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8">
            <a:extLst>
              <a:ext uri="{FF2B5EF4-FFF2-40B4-BE49-F238E27FC236}">
                <a16:creationId xmlns:a16="http://schemas.microsoft.com/office/drawing/2014/main" id="{C92CBCFA-3E98-3A43-9E8B-0D9DC35FAE58}"/>
              </a:ext>
            </a:extLst>
          </p:cNvPr>
          <p:cNvSpPr>
            <a:spLocks noGrp="1"/>
          </p:cNvSpPr>
          <p:nvPr>
            <p:ph type="body" sz="quarter" idx="13" hasCustomPrompt="1"/>
          </p:nvPr>
        </p:nvSpPr>
        <p:spPr>
          <a:xfrm>
            <a:off x="2828076" y="4096047"/>
            <a:ext cx="6535849" cy="307777"/>
          </a:xfrm>
        </p:spPr>
        <p:txBody>
          <a:bodyPr wrap="square">
            <a:spAutoFit/>
          </a:bodyPr>
          <a:lstStyle>
            <a:lvl1pPr algn="ctr">
              <a:defRPr sz="1400" b="0" i="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Location | Date</a:t>
            </a:r>
          </a:p>
        </p:txBody>
      </p:sp>
      <p:sp>
        <p:nvSpPr>
          <p:cNvPr id="23" name="Text Placeholder 8">
            <a:extLst>
              <a:ext uri="{FF2B5EF4-FFF2-40B4-BE49-F238E27FC236}">
                <a16:creationId xmlns:a16="http://schemas.microsoft.com/office/drawing/2014/main" id="{666C88E6-39E2-7944-AFFF-B9CAA96B9634}"/>
              </a:ext>
            </a:extLst>
          </p:cNvPr>
          <p:cNvSpPr>
            <a:spLocks noGrp="1"/>
          </p:cNvSpPr>
          <p:nvPr>
            <p:ph type="body" sz="quarter" idx="14" hasCustomPrompt="1"/>
          </p:nvPr>
        </p:nvSpPr>
        <p:spPr>
          <a:xfrm>
            <a:off x="2828076" y="3638412"/>
            <a:ext cx="6535849" cy="400110"/>
          </a:xfrm>
        </p:spPr>
        <p:txBody>
          <a:bodyPr wrap="square">
            <a:spAutoFit/>
          </a:bodyPr>
          <a:lstStyle>
            <a:lvl1pPr algn="ctr">
              <a:defRPr sz="2000" b="1" i="0" spc="30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SUBHEADER</a:t>
            </a:r>
          </a:p>
        </p:txBody>
      </p:sp>
      <p:pic>
        <p:nvPicPr>
          <p:cNvPr id="15" name="Picture 14">
            <a:extLst>
              <a:ext uri="{FF2B5EF4-FFF2-40B4-BE49-F238E27FC236}">
                <a16:creationId xmlns:a16="http://schemas.microsoft.com/office/drawing/2014/main" id="{C3DBEA0E-6107-5C48-A772-E5732D132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23201" y="1982718"/>
            <a:ext cx="1545597" cy="804342"/>
          </a:xfrm>
          <a:prstGeom prst="rect">
            <a:avLst/>
          </a:prstGeom>
        </p:spPr>
      </p:pic>
      <p:sp>
        <p:nvSpPr>
          <p:cNvPr id="3" name="Title 2">
            <a:extLst>
              <a:ext uri="{FF2B5EF4-FFF2-40B4-BE49-F238E27FC236}">
                <a16:creationId xmlns:a16="http://schemas.microsoft.com/office/drawing/2014/main" id="{D7309ADE-FED6-A847-BEBE-5E668F1006A7}"/>
              </a:ext>
            </a:extLst>
          </p:cNvPr>
          <p:cNvSpPr>
            <a:spLocks noGrp="1"/>
          </p:cNvSpPr>
          <p:nvPr>
            <p:ph type="title" hasCustomPrompt="1"/>
          </p:nvPr>
        </p:nvSpPr>
        <p:spPr>
          <a:xfrm>
            <a:off x="2372132" y="2831087"/>
            <a:ext cx="7447732" cy="823070"/>
          </a:xfrm>
        </p:spPr>
        <p:txBody>
          <a:bodyPr anchor="b"/>
          <a:lstStyle>
            <a:lvl1pPr algn="ctr">
              <a:defRPr/>
            </a:lvl1pPr>
          </a:lstStyle>
          <a:p>
            <a:r>
              <a:rPr lang="en-US"/>
              <a:t>Title of Presentation</a:t>
            </a:r>
          </a:p>
        </p:txBody>
      </p:sp>
      <p:sp>
        <p:nvSpPr>
          <p:cNvPr id="14" name="Slide Number Placeholder 8">
            <a:extLst>
              <a:ext uri="{FF2B5EF4-FFF2-40B4-BE49-F238E27FC236}">
                <a16:creationId xmlns:a16="http://schemas.microsoft.com/office/drawing/2014/main" id="{D26003A1-0A55-A245-9ABC-83E34DAE4364}"/>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28" name="Picture Placeholder 27">
            <a:extLst>
              <a:ext uri="{FF2B5EF4-FFF2-40B4-BE49-F238E27FC236}">
                <a16:creationId xmlns:a16="http://schemas.microsoft.com/office/drawing/2014/main" id="{0D8120D0-706A-F94A-89E4-1896F64495AE}"/>
              </a:ext>
            </a:extLst>
          </p:cNvPr>
          <p:cNvSpPr>
            <a:spLocks noGrp="1"/>
          </p:cNvSpPr>
          <p:nvPr>
            <p:ph type="pic" sz="quarter" idx="15" hasCustomPrompt="1"/>
          </p:nvPr>
        </p:nvSpPr>
        <p:spPr>
          <a:xfrm>
            <a:off x="0" y="0"/>
            <a:ext cx="12192000" cy="6858000"/>
          </a:xfrm>
          <a:custGeom>
            <a:avLst/>
            <a:gdLst>
              <a:gd name="connsiteX0" fmla="*/ 5456252 w 12192000"/>
              <a:gd name="connsiteY0" fmla="*/ 3607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456252 w 12192000"/>
              <a:gd name="connsiteY4" fmla="*/ 3607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0" fmla="*/ 5269985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269985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269985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269985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15248 w 12192000"/>
              <a:gd name="connsiteY1" fmla="*/ 3403599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15248 w 12192000"/>
              <a:gd name="connsiteY1" fmla="*/ 3403599 h 6858000"/>
              <a:gd name="connsiteX2" fmla="*/ 5594618 w 12192000"/>
              <a:gd name="connsiteY2" fmla="*/ 6497264 h 6858000"/>
              <a:gd name="connsiteX3" fmla="*/ 9760202 w 12192000"/>
              <a:gd name="connsiteY3" fmla="*/ 35052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5642518" y="428469"/>
                </a:moveTo>
                <a:cubicBezTo>
                  <a:pt x="4418359" y="411536"/>
                  <a:pt x="2304698" y="1291467"/>
                  <a:pt x="2415248" y="3403599"/>
                </a:cubicBezTo>
                <a:cubicBezTo>
                  <a:pt x="2525798" y="5515731"/>
                  <a:pt x="4370459" y="6480331"/>
                  <a:pt x="5594618" y="6497264"/>
                </a:cubicBezTo>
                <a:cubicBezTo>
                  <a:pt x="6818777" y="6514198"/>
                  <a:pt x="9633685" y="5803599"/>
                  <a:pt x="9760202" y="3505200"/>
                </a:cubicBezTo>
                <a:cubicBezTo>
                  <a:pt x="9886719" y="1206801"/>
                  <a:pt x="6866677" y="445403"/>
                  <a:pt x="5642518" y="428469"/>
                </a:cubicBezTo>
                <a:close/>
                <a:moveTo>
                  <a:pt x="0" y="0"/>
                </a:moveTo>
                <a:lnTo>
                  <a:pt x="12192000" y="0"/>
                </a:lnTo>
                <a:lnTo>
                  <a:pt x="12192000" y="6858000"/>
                </a:lnTo>
                <a:lnTo>
                  <a:pt x="0" y="6858000"/>
                </a:lnTo>
                <a:lnTo>
                  <a:pt x="0" y="0"/>
                </a:lnTo>
                <a:close/>
              </a:path>
            </a:pathLst>
          </a:custGeom>
        </p:spPr>
        <p:txBody>
          <a:bodyPr wrap="square">
            <a:noAutofit/>
          </a:bodyPr>
          <a:lstStyle/>
          <a:p>
            <a:r>
              <a:rPr lang="en-US" dirty="0"/>
              <a:t>Insert picture -&gt;send to back</a:t>
            </a:r>
          </a:p>
        </p:txBody>
      </p:sp>
    </p:spTree>
    <p:extLst>
      <p:ext uri="{BB962C8B-B14F-4D97-AF65-F5344CB8AC3E}">
        <p14:creationId xmlns:p14="http://schemas.microsoft.com/office/powerpoint/2010/main" val="28246160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lide_Change Background Color">
    <p:bg>
      <p:bgPr>
        <a:solidFill>
          <a:schemeClr val="tx2"/>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37D8EEDD-C6F6-2D4C-B308-1E3A594090AA}"/>
              </a:ext>
            </a:extLst>
          </p:cNvPr>
          <p:cNvSpPr>
            <a:spLocks/>
          </p:cNvSpPr>
          <p:nvPr/>
        </p:nvSpPr>
        <p:spPr bwMode="auto">
          <a:xfrm>
            <a:off x="2238294" y="-11113"/>
            <a:ext cx="9734760" cy="6349754"/>
          </a:xfrm>
          <a:custGeom>
            <a:avLst/>
            <a:gdLst>
              <a:gd name="T0" fmla="*/ 8751800 w 20831"/>
              <a:gd name="T1" fmla="*/ 5708631 h 19270"/>
              <a:gd name="T2" fmla="*/ 8751800 w 20831"/>
              <a:gd name="T3" fmla="*/ 5708631 h 19270"/>
              <a:gd name="T4" fmla="*/ 8751800 w 20831"/>
              <a:gd name="T5" fmla="*/ 5708631 h 19270"/>
              <a:gd name="T6" fmla="*/ 8751800 w 20831"/>
              <a:gd name="T7" fmla="*/ 5708631 h 1927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0831" h="19270" extrusionOk="0">
                <a:moveTo>
                  <a:pt x="1009" y="0"/>
                </a:moveTo>
                <a:cubicBezTo>
                  <a:pt x="266" y="1257"/>
                  <a:pt x="-146" y="2698"/>
                  <a:pt x="48" y="4378"/>
                </a:cubicBezTo>
                <a:cubicBezTo>
                  <a:pt x="530" y="8552"/>
                  <a:pt x="4166" y="9341"/>
                  <a:pt x="6733" y="11592"/>
                </a:cubicBezTo>
                <a:cubicBezTo>
                  <a:pt x="10296" y="14716"/>
                  <a:pt x="13245" y="21600"/>
                  <a:pt x="16958" y="18475"/>
                </a:cubicBezTo>
                <a:cubicBezTo>
                  <a:pt x="17721" y="17833"/>
                  <a:pt x="18241" y="16781"/>
                  <a:pt x="18697" y="15704"/>
                </a:cubicBezTo>
                <a:cubicBezTo>
                  <a:pt x="20828" y="10666"/>
                  <a:pt x="21454" y="4638"/>
                  <a:pt x="20162" y="0"/>
                </a:cubicBezTo>
                <a:lnTo>
                  <a:pt x="1009" y="0"/>
                </a:lnTo>
                <a:close/>
              </a:path>
            </a:pathLst>
          </a:custGeom>
          <a:solidFill>
            <a:schemeClr val="bg2"/>
          </a:solidFill>
          <a:ln>
            <a:noFill/>
          </a:ln>
          <a:effectLst>
            <a:outerShdw blurRad="127000" dist="38100" dir="8100000" algn="tr" rotWithShape="0">
              <a:schemeClr val="tx2">
                <a:lumMod val="75000"/>
                <a:alpha val="50000"/>
              </a:schemeClr>
            </a:outerShdw>
          </a:effectLst>
        </p:spPr>
        <p:txBody>
          <a:bodyPr lIns="25400" tIns="25400" rIns="25400" bIns="25400" anchor="ctr"/>
          <a:lstStyle/>
          <a:p>
            <a:endParaRPr lang="en-US" sz="900" dirty="0"/>
          </a:p>
        </p:txBody>
      </p:sp>
      <p:sp>
        <p:nvSpPr>
          <p:cNvPr id="6" name="Picture Placeholder 5">
            <a:extLst>
              <a:ext uri="{FF2B5EF4-FFF2-40B4-BE49-F238E27FC236}">
                <a16:creationId xmlns:a16="http://schemas.microsoft.com/office/drawing/2014/main" id="{A6752F0D-2358-4CCB-8AF6-CC07D8D3A955}"/>
              </a:ext>
            </a:extLst>
          </p:cNvPr>
          <p:cNvSpPr>
            <a:spLocks noGrp="1"/>
          </p:cNvSpPr>
          <p:nvPr>
            <p:ph type="pic" idx="13"/>
          </p:nvPr>
        </p:nvSpPr>
        <p:spPr>
          <a:xfrm>
            <a:off x="2531513" y="-4961"/>
            <a:ext cx="9426277" cy="6037449"/>
          </a:xfrm>
          <a:custGeom>
            <a:avLst/>
            <a:gdLst>
              <a:gd name="connsiteX0" fmla="*/ 863644 w 16949101"/>
              <a:gd name="connsiteY0" fmla="*/ 0 h 10855753"/>
              <a:gd name="connsiteX1" fmla="*/ 16468556 w 16949101"/>
              <a:gd name="connsiteY1" fmla="*/ 0 h 10855753"/>
              <a:gd name="connsiteX2" fmla="*/ 15225600 w 16949101"/>
              <a:gd name="connsiteY2" fmla="*/ 8750383 h 10855753"/>
              <a:gd name="connsiteX3" fmla="*/ 13764496 w 16949101"/>
              <a:gd name="connsiteY3" fmla="*/ 10392319 h 10855753"/>
              <a:gd name="connsiteX4" fmla="*/ 5173696 w 16949101"/>
              <a:gd name="connsiteY4" fmla="*/ 6314400 h 10855753"/>
              <a:gd name="connsiteX5" fmla="*/ 56984 w 16949101"/>
              <a:gd name="connsiteY5" fmla="*/ 2593546 h 10855753"/>
              <a:gd name="connsiteX6" fmla="*/ 863644 w 16949101"/>
              <a:gd name="connsiteY6" fmla="*/ 0 h 10855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49101" h="10855753">
                <a:moveTo>
                  <a:pt x="863644" y="0"/>
                </a:moveTo>
                <a:lnTo>
                  <a:pt x="16468556" y="0"/>
                </a:lnTo>
                <a:cubicBezTo>
                  <a:pt x="17436384" y="2594680"/>
                  <a:pt x="16902412" y="5937497"/>
                  <a:pt x="15225600" y="8750383"/>
                </a:cubicBezTo>
                <a:cubicBezTo>
                  <a:pt x="14844656" y="9389701"/>
                  <a:pt x="14407546" y="10014283"/>
                  <a:pt x="13764496" y="10392319"/>
                </a:cubicBezTo>
                <a:cubicBezTo>
                  <a:pt x="10623328" y="12242261"/>
                  <a:pt x="8190326" y="8073658"/>
                  <a:pt x="5173696" y="6314400"/>
                </a:cubicBezTo>
                <a:cubicBezTo>
                  <a:pt x="3211177" y="5168955"/>
                  <a:pt x="498978" y="4784684"/>
                  <a:pt x="56984" y="2593546"/>
                </a:cubicBezTo>
                <a:cubicBezTo>
                  <a:pt x="-145698" y="1590361"/>
                  <a:pt x="208385" y="733402"/>
                  <a:pt x="863644" y="0"/>
                </a:cubicBezTo>
                <a:close/>
              </a:path>
            </a:pathLst>
          </a:custGeom>
          <a:pattFill prst="pct90">
            <a:fgClr>
              <a:schemeClr val="tx2"/>
            </a:fgClr>
            <a:bgClr>
              <a:schemeClr val="accent1"/>
            </a:bgClr>
          </a:patt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Text Placeholder 8">
            <a:extLst>
              <a:ext uri="{FF2B5EF4-FFF2-40B4-BE49-F238E27FC236}">
                <a16:creationId xmlns:a16="http://schemas.microsoft.com/office/drawing/2014/main" id="{B3742D24-B32C-4B4F-AB47-5B02CDECDC6B}"/>
              </a:ext>
            </a:extLst>
          </p:cNvPr>
          <p:cNvSpPr>
            <a:spLocks noGrp="1"/>
          </p:cNvSpPr>
          <p:nvPr>
            <p:ph type="body" sz="quarter" idx="14" hasCustomPrompt="1"/>
          </p:nvPr>
        </p:nvSpPr>
        <p:spPr>
          <a:xfrm>
            <a:off x="321169" y="5014535"/>
            <a:ext cx="6535849" cy="307777"/>
          </a:xfrm>
        </p:spPr>
        <p:txBody>
          <a:bodyPr wrap="square">
            <a:spAutoFit/>
          </a:bodyPr>
          <a:lstStyle>
            <a:lvl1pPr algn="l">
              <a:defRPr sz="1400" b="0" i="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Location | Date</a:t>
            </a:r>
          </a:p>
        </p:txBody>
      </p:sp>
      <p:sp>
        <p:nvSpPr>
          <p:cNvPr id="10" name="Text Placeholder 8">
            <a:extLst>
              <a:ext uri="{FF2B5EF4-FFF2-40B4-BE49-F238E27FC236}">
                <a16:creationId xmlns:a16="http://schemas.microsoft.com/office/drawing/2014/main" id="{8025777E-EDDB-C247-9BD6-47B4A86D47A2}"/>
              </a:ext>
            </a:extLst>
          </p:cNvPr>
          <p:cNvSpPr>
            <a:spLocks noGrp="1"/>
          </p:cNvSpPr>
          <p:nvPr>
            <p:ph type="body" sz="quarter" idx="15" hasCustomPrompt="1"/>
          </p:nvPr>
        </p:nvSpPr>
        <p:spPr>
          <a:xfrm>
            <a:off x="321169" y="4596480"/>
            <a:ext cx="6535849" cy="400110"/>
          </a:xfrm>
        </p:spPr>
        <p:txBody>
          <a:bodyPr wrap="square">
            <a:spAutoFit/>
          </a:bodyPr>
          <a:lstStyle>
            <a:lvl1pPr algn="l">
              <a:defRPr sz="2000" b="1" i="0" spc="30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SUBHEADER</a:t>
            </a:r>
          </a:p>
        </p:txBody>
      </p:sp>
      <p:sp>
        <p:nvSpPr>
          <p:cNvPr id="11" name="Title 2">
            <a:extLst>
              <a:ext uri="{FF2B5EF4-FFF2-40B4-BE49-F238E27FC236}">
                <a16:creationId xmlns:a16="http://schemas.microsoft.com/office/drawing/2014/main" id="{65D3BFB7-05C8-614E-B7FF-C57E04624BFB}"/>
              </a:ext>
            </a:extLst>
          </p:cNvPr>
          <p:cNvSpPr>
            <a:spLocks noGrp="1"/>
          </p:cNvSpPr>
          <p:nvPr>
            <p:ph type="title" hasCustomPrompt="1"/>
          </p:nvPr>
        </p:nvSpPr>
        <p:spPr>
          <a:xfrm>
            <a:off x="321169" y="3745128"/>
            <a:ext cx="7447732" cy="823070"/>
          </a:xfrm>
        </p:spPr>
        <p:txBody>
          <a:bodyPr anchor="b"/>
          <a:lstStyle>
            <a:lvl1pPr algn="l">
              <a:defRPr/>
            </a:lvl1pPr>
          </a:lstStyle>
          <a:p>
            <a:r>
              <a:rPr lang="en-US"/>
              <a:t>Title of Presentation</a:t>
            </a:r>
          </a:p>
        </p:txBody>
      </p:sp>
      <p:pic>
        <p:nvPicPr>
          <p:cNvPr id="13" name="Picture 12">
            <a:extLst>
              <a:ext uri="{FF2B5EF4-FFF2-40B4-BE49-F238E27FC236}">
                <a16:creationId xmlns:a16="http://schemas.microsoft.com/office/drawing/2014/main" id="{FD9CB86A-0427-9244-9310-7C9E9A48D7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288" y="5713738"/>
            <a:ext cx="1364651" cy="710176"/>
          </a:xfrm>
          <a:prstGeom prst="rect">
            <a:avLst/>
          </a:prstGeom>
        </p:spPr>
      </p:pic>
      <p:sp>
        <p:nvSpPr>
          <p:cNvPr id="18" name="Slide Number Placeholder 8">
            <a:extLst>
              <a:ext uri="{FF2B5EF4-FFF2-40B4-BE49-F238E27FC236}">
                <a16:creationId xmlns:a16="http://schemas.microsoft.com/office/drawing/2014/main" id="{AF43DB3E-5BED-FA4C-96D3-BD0513658964}"/>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2017458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sp>
        <p:nvSpPr>
          <p:cNvPr id="29" name="Slide Number Placeholder 8">
            <a:extLst>
              <a:ext uri="{FF2B5EF4-FFF2-40B4-BE49-F238E27FC236}">
                <a16:creationId xmlns:a16="http://schemas.microsoft.com/office/drawing/2014/main" id="{2EFCACBF-0F01-184E-B064-7AEB9FD6291F}"/>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2" name="Rectangle 1">
            <a:extLst>
              <a:ext uri="{FF2B5EF4-FFF2-40B4-BE49-F238E27FC236}">
                <a16:creationId xmlns:a16="http://schemas.microsoft.com/office/drawing/2014/main" id="{57818E68-3964-6F47-8235-88E92531DA45}"/>
              </a:ext>
            </a:extLst>
          </p:cNvPr>
          <p:cNvSpPr/>
          <p:nvPr userDrawn="1"/>
        </p:nvSpPr>
        <p:spPr>
          <a:xfrm>
            <a:off x="0" y="-13854"/>
            <a:ext cx="10970565" cy="6884732"/>
          </a:xfrm>
          <a:custGeom>
            <a:avLst/>
            <a:gdLst>
              <a:gd name="connsiteX0" fmla="*/ 0 w 9865217"/>
              <a:gd name="connsiteY0" fmla="*/ 0 h 6858000"/>
              <a:gd name="connsiteX1" fmla="*/ 9865217 w 9865217"/>
              <a:gd name="connsiteY1" fmla="*/ 0 h 6858000"/>
              <a:gd name="connsiteX2" fmla="*/ 9865217 w 9865217"/>
              <a:gd name="connsiteY2" fmla="*/ 6858000 h 6858000"/>
              <a:gd name="connsiteX3" fmla="*/ 0 w 9865217"/>
              <a:gd name="connsiteY3" fmla="*/ 6858000 h 6858000"/>
              <a:gd name="connsiteX4" fmla="*/ 0 w 9865217"/>
              <a:gd name="connsiteY4" fmla="*/ 0 h 6858000"/>
              <a:gd name="connsiteX0" fmla="*/ 0 w 9865217"/>
              <a:gd name="connsiteY0" fmla="*/ 0 h 6858000"/>
              <a:gd name="connsiteX1" fmla="*/ 9865217 w 9865217"/>
              <a:gd name="connsiteY1" fmla="*/ 0 h 6858000"/>
              <a:gd name="connsiteX2" fmla="*/ 9865217 w 9865217"/>
              <a:gd name="connsiteY2" fmla="*/ 6858000 h 6858000"/>
              <a:gd name="connsiteX3" fmla="*/ 0 w 9865217"/>
              <a:gd name="connsiteY3" fmla="*/ 6858000 h 6858000"/>
              <a:gd name="connsiteX4" fmla="*/ 0 w 9865217"/>
              <a:gd name="connsiteY4" fmla="*/ 0 h 6858000"/>
              <a:gd name="connsiteX0" fmla="*/ 0 w 10625070"/>
              <a:gd name="connsiteY0" fmla="*/ 0 h 6870878"/>
              <a:gd name="connsiteX1" fmla="*/ 9865217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573555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573555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199482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860349"/>
              <a:gd name="connsiteY0" fmla="*/ 0 h 6870878"/>
              <a:gd name="connsiteX1" fmla="*/ 10199482 w 10860349"/>
              <a:gd name="connsiteY1" fmla="*/ 0 h 6870878"/>
              <a:gd name="connsiteX2" fmla="*/ 10625070 w 10860349"/>
              <a:gd name="connsiteY2" fmla="*/ 6870878 h 6870878"/>
              <a:gd name="connsiteX3" fmla="*/ 0 w 10860349"/>
              <a:gd name="connsiteY3" fmla="*/ 6858000 h 6870878"/>
              <a:gd name="connsiteX4" fmla="*/ 0 w 10860349"/>
              <a:gd name="connsiteY4" fmla="*/ 0 h 6870878"/>
              <a:gd name="connsiteX0" fmla="*/ 0 w 10769597"/>
              <a:gd name="connsiteY0" fmla="*/ 0 h 6870878"/>
              <a:gd name="connsiteX1" fmla="*/ 10033227 w 10769597"/>
              <a:gd name="connsiteY1" fmla="*/ 0 h 6870878"/>
              <a:gd name="connsiteX2" fmla="*/ 10625070 w 10769597"/>
              <a:gd name="connsiteY2" fmla="*/ 6870878 h 6870878"/>
              <a:gd name="connsiteX3" fmla="*/ 0 w 10769597"/>
              <a:gd name="connsiteY3" fmla="*/ 6858000 h 6870878"/>
              <a:gd name="connsiteX4" fmla="*/ 0 w 10769597"/>
              <a:gd name="connsiteY4" fmla="*/ 0 h 6870878"/>
              <a:gd name="connsiteX0" fmla="*/ 0 w 10913304"/>
              <a:gd name="connsiteY0" fmla="*/ 0 h 6870878"/>
              <a:gd name="connsiteX1" fmla="*/ 10033227 w 10913304"/>
              <a:gd name="connsiteY1" fmla="*/ 0 h 6870878"/>
              <a:gd name="connsiteX2" fmla="*/ 10625070 w 10913304"/>
              <a:gd name="connsiteY2" fmla="*/ 6870878 h 6870878"/>
              <a:gd name="connsiteX3" fmla="*/ 0 w 10913304"/>
              <a:gd name="connsiteY3" fmla="*/ 6858000 h 6870878"/>
              <a:gd name="connsiteX4" fmla="*/ 0 w 10913304"/>
              <a:gd name="connsiteY4" fmla="*/ 0 h 6870878"/>
              <a:gd name="connsiteX0" fmla="*/ 0 w 11252668"/>
              <a:gd name="connsiteY0" fmla="*/ 0 h 6870878"/>
              <a:gd name="connsiteX1" fmla="*/ 10033227 w 11252668"/>
              <a:gd name="connsiteY1" fmla="*/ 0 h 6870878"/>
              <a:gd name="connsiteX2" fmla="*/ 10625070 w 11252668"/>
              <a:gd name="connsiteY2" fmla="*/ 6870878 h 6870878"/>
              <a:gd name="connsiteX3" fmla="*/ 0 w 11252668"/>
              <a:gd name="connsiteY3" fmla="*/ 6858000 h 6870878"/>
              <a:gd name="connsiteX4" fmla="*/ 0 w 11252668"/>
              <a:gd name="connsiteY4" fmla="*/ 0 h 6870878"/>
              <a:gd name="connsiteX0" fmla="*/ 0 w 11190534"/>
              <a:gd name="connsiteY0" fmla="*/ 13854 h 6884732"/>
              <a:gd name="connsiteX1" fmla="*/ 9922391 w 11190534"/>
              <a:gd name="connsiteY1" fmla="*/ 0 h 6884732"/>
              <a:gd name="connsiteX2" fmla="*/ 10625070 w 11190534"/>
              <a:gd name="connsiteY2" fmla="*/ 6884732 h 6884732"/>
              <a:gd name="connsiteX3" fmla="*/ 0 w 11190534"/>
              <a:gd name="connsiteY3" fmla="*/ 6871854 h 6884732"/>
              <a:gd name="connsiteX4" fmla="*/ 0 w 11190534"/>
              <a:gd name="connsiteY4" fmla="*/ 13854 h 6884732"/>
              <a:gd name="connsiteX0" fmla="*/ 0 w 10970565"/>
              <a:gd name="connsiteY0" fmla="*/ 13854 h 6884732"/>
              <a:gd name="connsiteX1" fmla="*/ 9922391 w 10970565"/>
              <a:gd name="connsiteY1" fmla="*/ 0 h 6884732"/>
              <a:gd name="connsiteX2" fmla="*/ 10625070 w 10970565"/>
              <a:gd name="connsiteY2" fmla="*/ 6884732 h 6884732"/>
              <a:gd name="connsiteX3" fmla="*/ 0 w 10970565"/>
              <a:gd name="connsiteY3" fmla="*/ 6871854 h 6884732"/>
              <a:gd name="connsiteX4" fmla="*/ 0 w 10970565"/>
              <a:gd name="connsiteY4" fmla="*/ 13854 h 6884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0565" h="6884732">
                <a:moveTo>
                  <a:pt x="0" y="13854"/>
                </a:moveTo>
                <a:lnTo>
                  <a:pt x="9922391" y="0"/>
                </a:lnTo>
                <a:cubicBezTo>
                  <a:pt x="11997450" y="4011964"/>
                  <a:pt x="10292561" y="4723422"/>
                  <a:pt x="10625070" y="6884732"/>
                </a:cubicBezTo>
                <a:lnTo>
                  <a:pt x="0" y="6871854"/>
                </a:lnTo>
                <a:lnTo>
                  <a:pt x="0" y="13854"/>
                </a:lnTo>
                <a:close/>
              </a:path>
            </a:pathLst>
          </a:custGeom>
          <a:solidFill>
            <a:schemeClr val="bg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3A3BD98-EF49-DC45-93C9-B65DE5EB6D63}"/>
              </a:ext>
            </a:extLst>
          </p:cNvPr>
          <p:cNvSpPr/>
          <p:nvPr userDrawn="1"/>
        </p:nvSpPr>
        <p:spPr>
          <a:xfrm>
            <a:off x="1" y="-7903"/>
            <a:ext cx="3271978" cy="6885221"/>
          </a:xfrm>
          <a:custGeom>
            <a:avLst/>
            <a:gdLst>
              <a:gd name="connsiteX0" fmla="*/ 0 w 3657600"/>
              <a:gd name="connsiteY0" fmla="*/ 0 h 6864439"/>
              <a:gd name="connsiteX1" fmla="*/ 3657600 w 3657600"/>
              <a:gd name="connsiteY1" fmla="*/ 0 h 6864439"/>
              <a:gd name="connsiteX2" fmla="*/ 3657600 w 3657600"/>
              <a:gd name="connsiteY2" fmla="*/ 6864439 h 6864439"/>
              <a:gd name="connsiteX3" fmla="*/ 0 w 3657600"/>
              <a:gd name="connsiteY3" fmla="*/ 6864439 h 6864439"/>
              <a:gd name="connsiteX4" fmla="*/ 0 w 3657600"/>
              <a:gd name="connsiteY4" fmla="*/ 0 h 6864439"/>
              <a:gd name="connsiteX0" fmla="*/ 0 w 4659289"/>
              <a:gd name="connsiteY0" fmla="*/ 0 h 6864439"/>
              <a:gd name="connsiteX1" fmla="*/ 3657600 w 4659289"/>
              <a:gd name="connsiteY1" fmla="*/ 0 h 6864439"/>
              <a:gd name="connsiteX2" fmla="*/ 3657600 w 4659289"/>
              <a:gd name="connsiteY2" fmla="*/ 6864439 h 6864439"/>
              <a:gd name="connsiteX3" fmla="*/ 0 w 4659289"/>
              <a:gd name="connsiteY3" fmla="*/ 6864439 h 6864439"/>
              <a:gd name="connsiteX4" fmla="*/ 0 w 4659289"/>
              <a:gd name="connsiteY4" fmla="*/ 0 h 6864439"/>
              <a:gd name="connsiteX0" fmla="*/ 0 w 4739451"/>
              <a:gd name="connsiteY0" fmla="*/ 0 h 6864439"/>
              <a:gd name="connsiteX1" fmla="*/ 3657600 w 4739451"/>
              <a:gd name="connsiteY1" fmla="*/ 0 h 6864439"/>
              <a:gd name="connsiteX2" fmla="*/ 3657600 w 4739451"/>
              <a:gd name="connsiteY2" fmla="*/ 6864439 h 6864439"/>
              <a:gd name="connsiteX3" fmla="*/ 0 w 4739451"/>
              <a:gd name="connsiteY3" fmla="*/ 6864439 h 6864439"/>
              <a:gd name="connsiteX4" fmla="*/ 0 w 4739451"/>
              <a:gd name="connsiteY4" fmla="*/ 0 h 6864439"/>
              <a:gd name="connsiteX0" fmla="*/ 0 w 4683647"/>
              <a:gd name="connsiteY0" fmla="*/ 0 h 6864439"/>
              <a:gd name="connsiteX1" fmla="*/ 3657600 w 4683647"/>
              <a:gd name="connsiteY1" fmla="*/ 0 h 6864439"/>
              <a:gd name="connsiteX2" fmla="*/ 3657600 w 4683647"/>
              <a:gd name="connsiteY2" fmla="*/ 6864439 h 6864439"/>
              <a:gd name="connsiteX3" fmla="*/ 0 w 4683647"/>
              <a:gd name="connsiteY3" fmla="*/ 6864439 h 6864439"/>
              <a:gd name="connsiteX4" fmla="*/ 0 w 4683647"/>
              <a:gd name="connsiteY4" fmla="*/ 0 h 6864439"/>
              <a:gd name="connsiteX0" fmla="*/ 0 w 4624193"/>
              <a:gd name="connsiteY0" fmla="*/ 0 h 6877318"/>
              <a:gd name="connsiteX1" fmla="*/ 3657600 w 4624193"/>
              <a:gd name="connsiteY1" fmla="*/ 0 h 6877318"/>
              <a:gd name="connsiteX2" fmla="*/ 3424319 w 4624193"/>
              <a:gd name="connsiteY2" fmla="*/ 6877318 h 6877318"/>
              <a:gd name="connsiteX3" fmla="*/ 0 w 4624193"/>
              <a:gd name="connsiteY3" fmla="*/ 6864439 h 6877318"/>
              <a:gd name="connsiteX4" fmla="*/ 0 w 4624193"/>
              <a:gd name="connsiteY4" fmla="*/ 0 h 6877318"/>
              <a:gd name="connsiteX0" fmla="*/ 0 w 4658687"/>
              <a:gd name="connsiteY0" fmla="*/ 0 h 6877318"/>
              <a:gd name="connsiteX1" fmla="*/ 3657600 w 4658687"/>
              <a:gd name="connsiteY1" fmla="*/ 0 h 6877318"/>
              <a:gd name="connsiteX2" fmla="*/ 3424319 w 4658687"/>
              <a:gd name="connsiteY2" fmla="*/ 6877318 h 6877318"/>
              <a:gd name="connsiteX3" fmla="*/ 0 w 4658687"/>
              <a:gd name="connsiteY3" fmla="*/ 6864439 h 6877318"/>
              <a:gd name="connsiteX4" fmla="*/ 0 w 4658687"/>
              <a:gd name="connsiteY4" fmla="*/ 0 h 6877318"/>
              <a:gd name="connsiteX0" fmla="*/ 0 w 4527149"/>
              <a:gd name="connsiteY0" fmla="*/ 0 h 6877318"/>
              <a:gd name="connsiteX1" fmla="*/ 3478153 w 4527149"/>
              <a:gd name="connsiteY1" fmla="*/ 12879 h 6877318"/>
              <a:gd name="connsiteX2" fmla="*/ 3424319 w 4527149"/>
              <a:gd name="connsiteY2" fmla="*/ 6877318 h 6877318"/>
              <a:gd name="connsiteX3" fmla="*/ 0 w 4527149"/>
              <a:gd name="connsiteY3" fmla="*/ 6864439 h 6877318"/>
              <a:gd name="connsiteX4" fmla="*/ 0 w 4527149"/>
              <a:gd name="connsiteY4" fmla="*/ 0 h 6877318"/>
              <a:gd name="connsiteX0" fmla="*/ 0 w 4559005"/>
              <a:gd name="connsiteY0" fmla="*/ 0 h 6877318"/>
              <a:gd name="connsiteX1" fmla="*/ 3478153 w 4559005"/>
              <a:gd name="connsiteY1" fmla="*/ 12879 h 6877318"/>
              <a:gd name="connsiteX2" fmla="*/ 3424319 w 4559005"/>
              <a:gd name="connsiteY2" fmla="*/ 6877318 h 6877318"/>
              <a:gd name="connsiteX3" fmla="*/ 0 w 4559005"/>
              <a:gd name="connsiteY3" fmla="*/ 6864439 h 6877318"/>
              <a:gd name="connsiteX4" fmla="*/ 0 w 4559005"/>
              <a:gd name="connsiteY4" fmla="*/ 0 h 6877318"/>
              <a:gd name="connsiteX0" fmla="*/ 0 w 4559005"/>
              <a:gd name="connsiteY0" fmla="*/ 7903 h 6885221"/>
              <a:gd name="connsiteX1" fmla="*/ 3478153 w 4559005"/>
              <a:gd name="connsiteY1" fmla="*/ 0 h 6885221"/>
              <a:gd name="connsiteX2" fmla="*/ 3424319 w 4559005"/>
              <a:gd name="connsiteY2" fmla="*/ 6885221 h 6885221"/>
              <a:gd name="connsiteX3" fmla="*/ 0 w 4559005"/>
              <a:gd name="connsiteY3" fmla="*/ 6872342 h 6885221"/>
              <a:gd name="connsiteX4" fmla="*/ 0 w 4559005"/>
              <a:gd name="connsiteY4" fmla="*/ 7903 h 6885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9005" h="6885221">
                <a:moveTo>
                  <a:pt x="0" y="7903"/>
                </a:moveTo>
                <a:lnTo>
                  <a:pt x="3478153" y="0"/>
                </a:lnTo>
                <a:cubicBezTo>
                  <a:pt x="5803733" y="4104068"/>
                  <a:pt x="3693488" y="4880411"/>
                  <a:pt x="3424319" y="6885221"/>
                </a:cubicBezTo>
                <a:lnTo>
                  <a:pt x="0" y="6872342"/>
                </a:lnTo>
                <a:lnTo>
                  <a:pt x="0" y="7903"/>
                </a:lnTo>
                <a:close/>
              </a:path>
            </a:pathLst>
          </a:custGeom>
          <a:solidFill>
            <a:schemeClr val="tx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2228790-4FBE-9048-A37E-8D8E927769E9}"/>
              </a:ext>
            </a:extLst>
          </p:cNvPr>
          <p:cNvSpPr>
            <a:spLocks noGrp="1"/>
          </p:cNvSpPr>
          <p:nvPr>
            <p:ph type="body" sz="quarter" idx="10" hasCustomPrompt="1"/>
          </p:nvPr>
        </p:nvSpPr>
        <p:spPr>
          <a:xfrm>
            <a:off x="330200" y="2768918"/>
            <a:ext cx="3022600" cy="1320165"/>
          </a:xfrm>
        </p:spPr>
        <p:txBody>
          <a:bodyPr anchor="ctr">
            <a:normAutofit/>
          </a:bodyPr>
          <a:lstStyle>
            <a:lvl1pPr>
              <a:defRPr sz="4400" b="1" spc="300">
                <a:solidFill>
                  <a:schemeClr val="accent4"/>
                </a:solidFill>
              </a:defRPr>
            </a:lvl1pPr>
          </a:lstStyle>
          <a:p>
            <a:pPr lvl="0"/>
            <a:r>
              <a:rPr lang="en-US"/>
              <a:t>AGENDA</a:t>
            </a:r>
          </a:p>
        </p:txBody>
      </p:sp>
      <p:sp>
        <p:nvSpPr>
          <p:cNvPr id="13" name="01">
            <a:extLst>
              <a:ext uri="{FF2B5EF4-FFF2-40B4-BE49-F238E27FC236}">
                <a16:creationId xmlns:a16="http://schemas.microsoft.com/office/drawing/2014/main" id="{EB777D7F-18FC-9741-AE6C-122C846AB789}"/>
              </a:ext>
            </a:extLst>
          </p:cNvPr>
          <p:cNvSpPr>
            <a:spLocks noGrp="1" noChangeAspect="1"/>
          </p:cNvSpPr>
          <p:nvPr>
            <p:ph type="body" sz="quarter" idx="13" hasCustomPrompt="1"/>
          </p:nvPr>
        </p:nvSpPr>
        <p:spPr>
          <a:xfrm>
            <a:off x="3828642" y="55611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1</a:t>
            </a:r>
          </a:p>
        </p:txBody>
      </p:sp>
      <p:sp>
        <p:nvSpPr>
          <p:cNvPr id="14" name="Agenda 1">
            <a:extLst>
              <a:ext uri="{FF2B5EF4-FFF2-40B4-BE49-F238E27FC236}">
                <a16:creationId xmlns:a16="http://schemas.microsoft.com/office/drawing/2014/main" id="{179A9E0F-9A79-4B44-ACC0-7159976F58AD}"/>
              </a:ext>
            </a:extLst>
          </p:cNvPr>
          <p:cNvSpPr>
            <a:spLocks noGrp="1"/>
          </p:cNvSpPr>
          <p:nvPr>
            <p:ph type="body" sz="quarter" idx="15" hasCustomPrompt="1"/>
          </p:nvPr>
        </p:nvSpPr>
        <p:spPr>
          <a:xfrm>
            <a:off x="4507296" y="62041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1</a:t>
            </a:r>
          </a:p>
        </p:txBody>
      </p:sp>
      <p:sp>
        <p:nvSpPr>
          <p:cNvPr id="15" name="01">
            <a:extLst>
              <a:ext uri="{FF2B5EF4-FFF2-40B4-BE49-F238E27FC236}">
                <a16:creationId xmlns:a16="http://schemas.microsoft.com/office/drawing/2014/main" id="{DE70DC25-FDA8-B941-80D7-EEDD99807AB9}"/>
              </a:ext>
            </a:extLst>
          </p:cNvPr>
          <p:cNvSpPr>
            <a:spLocks noGrp="1" noChangeAspect="1"/>
          </p:cNvSpPr>
          <p:nvPr>
            <p:ph type="body" sz="quarter" idx="16" hasCustomPrompt="1"/>
          </p:nvPr>
        </p:nvSpPr>
        <p:spPr>
          <a:xfrm>
            <a:off x="3866442" y="131811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2</a:t>
            </a:r>
          </a:p>
        </p:txBody>
      </p:sp>
      <p:sp>
        <p:nvSpPr>
          <p:cNvPr id="16" name="Agenda 1">
            <a:extLst>
              <a:ext uri="{FF2B5EF4-FFF2-40B4-BE49-F238E27FC236}">
                <a16:creationId xmlns:a16="http://schemas.microsoft.com/office/drawing/2014/main" id="{E262E562-4385-0C49-8D49-EE642331BBB9}"/>
              </a:ext>
            </a:extLst>
          </p:cNvPr>
          <p:cNvSpPr>
            <a:spLocks noGrp="1"/>
          </p:cNvSpPr>
          <p:nvPr>
            <p:ph type="body" sz="quarter" idx="17" hasCustomPrompt="1"/>
          </p:nvPr>
        </p:nvSpPr>
        <p:spPr>
          <a:xfrm>
            <a:off x="4545096" y="138241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2</a:t>
            </a:r>
          </a:p>
        </p:txBody>
      </p:sp>
      <p:sp>
        <p:nvSpPr>
          <p:cNvPr id="17" name="01">
            <a:extLst>
              <a:ext uri="{FF2B5EF4-FFF2-40B4-BE49-F238E27FC236}">
                <a16:creationId xmlns:a16="http://schemas.microsoft.com/office/drawing/2014/main" id="{4F605E83-65EF-B04F-96DA-9CED8F1DD7A0}"/>
              </a:ext>
            </a:extLst>
          </p:cNvPr>
          <p:cNvSpPr>
            <a:spLocks noGrp="1" noChangeAspect="1"/>
          </p:cNvSpPr>
          <p:nvPr>
            <p:ph type="body" sz="quarter" idx="18" hasCustomPrompt="1"/>
          </p:nvPr>
        </p:nvSpPr>
        <p:spPr>
          <a:xfrm>
            <a:off x="3866442" y="2082529"/>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3</a:t>
            </a:r>
          </a:p>
        </p:txBody>
      </p:sp>
      <p:sp>
        <p:nvSpPr>
          <p:cNvPr id="18" name="Agenda 1">
            <a:extLst>
              <a:ext uri="{FF2B5EF4-FFF2-40B4-BE49-F238E27FC236}">
                <a16:creationId xmlns:a16="http://schemas.microsoft.com/office/drawing/2014/main" id="{559C1B5B-F924-244C-9E13-C42010B42D00}"/>
              </a:ext>
            </a:extLst>
          </p:cNvPr>
          <p:cNvSpPr>
            <a:spLocks noGrp="1"/>
          </p:cNvSpPr>
          <p:nvPr>
            <p:ph type="body" sz="quarter" idx="19" hasCustomPrompt="1"/>
          </p:nvPr>
        </p:nvSpPr>
        <p:spPr>
          <a:xfrm>
            <a:off x="4545096" y="2146826"/>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3</a:t>
            </a:r>
          </a:p>
        </p:txBody>
      </p:sp>
      <p:sp>
        <p:nvSpPr>
          <p:cNvPr id="19" name="01">
            <a:extLst>
              <a:ext uri="{FF2B5EF4-FFF2-40B4-BE49-F238E27FC236}">
                <a16:creationId xmlns:a16="http://schemas.microsoft.com/office/drawing/2014/main" id="{8E2B09F4-F3DA-CF46-9978-FEB40C9C7062}"/>
              </a:ext>
            </a:extLst>
          </p:cNvPr>
          <p:cNvSpPr>
            <a:spLocks noGrp="1" noChangeAspect="1"/>
          </p:cNvSpPr>
          <p:nvPr>
            <p:ph type="body" sz="quarter" idx="20" hasCustomPrompt="1"/>
          </p:nvPr>
        </p:nvSpPr>
        <p:spPr>
          <a:xfrm>
            <a:off x="3866442" y="2846943"/>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4</a:t>
            </a:r>
          </a:p>
        </p:txBody>
      </p:sp>
      <p:sp>
        <p:nvSpPr>
          <p:cNvPr id="20" name="Agenda 1">
            <a:extLst>
              <a:ext uri="{FF2B5EF4-FFF2-40B4-BE49-F238E27FC236}">
                <a16:creationId xmlns:a16="http://schemas.microsoft.com/office/drawing/2014/main" id="{A0A68385-5CB4-6F4C-8EFA-0C0D9E1B79ED}"/>
              </a:ext>
            </a:extLst>
          </p:cNvPr>
          <p:cNvSpPr>
            <a:spLocks noGrp="1"/>
          </p:cNvSpPr>
          <p:nvPr>
            <p:ph type="body" sz="quarter" idx="21" hasCustomPrompt="1"/>
          </p:nvPr>
        </p:nvSpPr>
        <p:spPr>
          <a:xfrm>
            <a:off x="4545096" y="2911240"/>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4</a:t>
            </a:r>
          </a:p>
        </p:txBody>
      </p:sp>
      <p:sp>
        <p:nvSpPr>
          <p:cNvPr id="21" name="01">
            <a:extLst>
              <a:ext uri="{FF2B5EF4-FFF2-40B4-BE49-F238E27FC236}">
                <a16:creationId xmlns:a16="http://schemas.microsoft.com/office/drawing/2014/main" id="{AA84844C-A1F7-E145-95B5-896706B91DFD}"/>
              </a:ext>
            </a:extLst>
          </p:cNvPr>
          <p:cNvSpPr>
            <a:spLocks noGrp="1" noChangeAspect="1"/>
          </p:cNvSpPr>
          <p:nvPr>
            <p:ph type="body" sz="quarter" idx="22" hasCustomPrompt="1"/>
          </p:nvPr>
        </p:nvSpPr>
        <p:spPr>
          <a:xfrm>
            <a:off x="3866442" y="3611357"/>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5</a:t>
            </a:r>
          </a:p>
        </p:txBody>
      </p:sp>
      <p:sp>
        <p:nvSpPr>
          <p:cNvPr id="22" name="Agenda 1">
            <a:extLst>
              <a:ext uri="{FF2B5EF4-FFF2-40B4-BE49-F238E27FC236}">
                <a16:creationId xmlns:a16="http://schemas.microsoft.com/office/drawing/2014/main" id="{A36350AB-F8D0-7B46-99D1-0B75F21D9286}"/>
              </a:ext>
            </a:extLst>
          </p:cNvPr>
          <p:cNvSpPr>
            <a:spLocks noGrp="1"/>
          </p:cNvSpPr>
          <p:nvPr>
            <p:ph type="body" sz="quarter" idx="23" hasCustomPrompt="1"/>
          </p:nvPr>
        </p:nvSpPr>
        <p:spPr>
          <a:xfrm>
            <a:off x="4545096" y="3675654"/>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5</a:t>
            </a:r>
          </a:p>
        </p:txBody>
      </p:sp>
      <p:sp>
        <p:nvSpPr>
          <p:cNvPr id="23" name="01">
            <a:extLst>
              <a:ext uri="{FF2B5EF4-FFF2-40B4-BE49-F238E27FC236}">
                <a16:creationId xmlns:a16="http://schemas.microsoft.com/office/drawing/2014/main" id="{2DD3EB51-23D7-5846-9B38-928002C32551}"/>
              </a:ext>
            </a:extLst>
          </p:cNvPr>
          <p:cNvSpPr>
            <a:spLocks noGrp="1" noChangeAspect="1"/>
          </p:cNvSpPr>
          <p:nvPr>
            <p:ph type="body" sz="quarter" idx="24" hasCustomPrompt="1"/>
          </p:nvPr>
        </p:nvSpPr>
        <p:spPr>
          <a:xfrm>
            <a:off x="3866442" y="4375771"/>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6</a:t>
            </a:r>
          </a:p>
        </p:txBody>
      </p:sp>
      <p:sp>
        <p:nvSpPr>
          <p:cNvPr id="24" name="Agenda 1">
            <a:extLst>
              <a:ext uri="{FF2B5EF4-FFF2-40B4-BE49-F238E27FC236}">
                <a16:creationId xmlns:a16="http://schemas.microsoft.com/office/drawing/2014/main" id="{00B9C5EB-8FE8-2B48-8B20-30AF9B96C755}"/>
              </a:ext>
            </a:extLst>
          </p:cNvPr>
          <p:cNvSpPr>
            <a:spLocks noGrp="1"/>
          </p:cNvSpPr>
          <p:nvPr>
            <p:ph type="body" sz="quarter" idx="25" hasCustomPrompt="1"/>
          </p:nvPr>
        </p:nvSpPr>
        <p:spPr>
          <a:xfrm>
            <a:off x="4545096" y="4440068"/>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6</a:t>
            </a:r>
          </a:p>
        </p:txBody>
      </p:sp>
      <p:sp>
        <p:nvSpPr>
          <p:cNvPr id="25" name="01">
            <a:extLst>
              <a:ext uri="{FF2B5EF4-FFF2-40B4-BE49-F238E27FC236}">
                <a16:creationId xmlns:a16="http://schemas.microsoft.com/office/drawing/2014/main" id="{EB01C425-A69F-3446-B781-72CFDB9113BD}"/>
              </a:ext>
            </a:extLst>
          </p:cNvPr>
          <p:cNvSpPr>
            <a:spLocks noGrp="1" noChangeAspect="1"/>
          </p:cNvSpPr>
          <p:nvPr>
            <p:ph type="body" sz="quarter" idx="26" hasCustomPrompt="1"/>
          </p:nvPr>
        </p:nvSpPr>
        <p:spPr>
          <a:xfrm>
            <a:off x="3876267" y="514018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7</a:t>
            </a:r>
          </a:p>
        </p:txBody>
      </p:sp>
      <p:sp>
        <p:nvSpPr>
          <p:cNvPr id="26" name="Agenda 1">
            <a:extLst>
              <a:ext uri="{FF2B5EF4-FFF2-40B4-BE49-F238E27FC236}">
                <a16:creationId xmlns:a16="http://schemas.microsoft.com/office/drawing/2014/main" id="{34144679-175C-2C48-AAA4-69E3F983F0DA}"/>
              </a:ext>
            </a:extLst>
          </p:cNvPr>
          <p:cNvSpPr>
            <a:spLocks noGrp="1"/>
          </p:cNvSpPr>
          <p:nvPr>
            <p:ph type="body" sz="quarter" idx="27" hasCustomPrompt="1"/>
          </p:nvPr>
        </p:nvSpPr>
        <p:spPr>
          <a:xfrm>
            <a:off x="4554921" y="520448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7</a:t>
            </a:r>
          </a:p>
        </p:txBody>
      </p:sp>
      <p:sp>
        <p:nvSpPr>
          <p:cNvPr id="27" name="01">
            <a:extLst>
              <a:ext uri="{FF2B5EF4-FFF2-40B4-BE49-F238E27FC236}">
                <a16:creationId xmlns:a16="http://schemas.microsoft.com/office/drawing/2014/main" id="{7F24D7C0-48C1-5F4C-A135-FA59A7B01CCE}"/>
              </a:ext>
            </a:extLst>
          </p:cNvPr>
          <p:cNvSpPr>
            <a:spLocks noGrp="1" noChangeAspect="1"/>
          </p:cNvSpPr>
          <p:nvPr>
            <p:ph type="body" sz="quarter" idx="28" hasCustomPrompt="1"/>
          </p:nvPr>
        </p:nvSpPr>
        <p:spPr>
          <a:xfrm>
            <a:off x="3866442" y="5834961"/>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8</a:t>
            </a:r>
          </a:p>
        </p:txBody>
      </p:sp>
      <p:sp>
        <p:nvSpPr>
          <p:cNvPr id="28" name="Agenda 1">
            <a:extLst>
              <a:ext uri="{FF2B5EF4-FFF2-40B4-BE49-F238E27FC236}">
                <a16:creationId xmlns:a16="http://schemas.microsoft.com/office/drawing/2014/main" id="{34EBB330-3267-3E4B-B6F2-57392ACB4C52}"/>
              </a:ext>
            </a:extLst>
          </p:cNvPr>
          <p:cNvSpPr>
            <a:spLocks noGrp="1"/>
          </p:cNvSpPr>
          <p:nvPr>
            <p:ph type="body" sz="quarter" idx="29" hasCustomPrompt="1"/>
          </p:nvPr>
        </p:nvSpPr>
        <p:spPr>
          <a:xfrm>
            <a:off x="4545096" y="5899258"/>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8</a:t>
            </a:r>
          </a:p>
        </p:txBody>
      </p:sp>
    </p:spTree>
    <p:extLst>
      <p:ext uri="{BB962C8B-B14F-4D97-AF65-F5344CB8AC3E}">
        <p14:creationId xmlns:p14="http://schemas.microsoft.com/office/powerpoint/2010/main" val="1005204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D78BED76-6AB0-1D43-8D7D-A818ABFB7B71}"/>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bg1"/>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pic>
        <p:nvPicPr>
          <p:cNvPr id="25" name="Picture 24">
            <a:extLst>
              <a:ext uri="{FF2B5EF4-FFF2-40B4-BE49-F238E27FC236}">
                <a16:creationId xmlns:a16="http://schemas.microsoft.com/office/drawing/2014/main" id="{1B95CEAB-2F79-9D49-93E7-33F937435D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5915" y="682214"/>
            <a:ext cx="3857500" cy="4684105"/>
          </a:xfrm>
          <a:prstGeom prst="rect">
            <a:avLst/>
          </a:prstGeom>
        </p:spPr>
      </p:pic>
      <p:sp>
        <p:nvSpPr>
          <p:cNvPr id="30" name="Text Placeholder 5">
            <a:extLst>
              <a:ext uri="{FF2B5EF4-FFF2-40B4-BE49-F238E27FC236}">
                <a16:creationId xmlns:a16="http://schemas.microsoft.com/office/drawing/2014/main" id="{34F4B5D4-5B2A-FE48-97D8-E87061C01736}"/>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accent3"/>
                </a:solidFill>
              </a:defRPr>
            </a:lvl1pPr>
          </a:lstStyle>
          <a:p>
            <a:pPr lvl="0"/>
            <a:r>
              <a:rPr lang="en-US"/>
              <a:t>DIVIDER HEADLINE</a:t>
            </a:r>
          </a:p>
        </p:txBody>
      </p:sp>
      <p:sp>
        <p:nvSpPr>
          <p:cNvPr id="31" name="Text Placeholder 5">
            <a:extLst>
              <a:ext uri="{FF2B5EF4-FFF2-40B4-BE49-F238E27FC236}">
                <a16:creationId xmlns:a16="http://schemas.microsoft.com/office/drawing/2014/main" id="{5DCBB357-D6AA-1E48-9874-FE58BF551782}"/>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accent3"/>
                </a:solidFill>
              </a:defRPr>
            </a:lvl1pPr>
          </a:lstStyle>
          <a:p>
            <a:pPr lvl="0"/>
            <a:r>
              <a:rPr lang="en-US"/>
              <a:t>SUBHEADER</a:t>
            </a:r>
          </a:p>
        </p:txBody>
      </p:sp>
      <p:sp>
        <p:nvSpPr>
          <p:cNvPr id="33" name="Slide Number Placeholder 8">
            <a:extLst>
              <a:ext uri="{FF2B5EF4-FFF2-40B4-BE49-F238E27FC236}">
                <a16:creationId xmlns:a16="http://schemas.microsoft.com/office/drawing/2014/main" id="{26FB892B-FC29-CC4C-A11F-572190BF7040}"/>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2418374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BD55E6D2-C0B1-CF46-8B5C-6690A887EB68}"/>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accent2"/>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pic>
        <p:nvPicPr>
          <p:cNvPr id="19" name="Picture 18">
            <a:extLst>
              <a:ext uri="{FF2B5EF4-FFF2-40B4-BE49-F238E27FC236}">
                <a16:creationId xmlns:a16="http://schemas.microsoft.com/office/drawing/2014/main" id="{6E506E86-8C7C-0D42-BA9A-D8231E24D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712" y="595116"/>
            <a:ext cx="4220678" cy="5667768"/>
          </a:xfrm>
          <a:prstGeom prst="rect">
            <a:avLst/>
          </a:prstGeom>
        </p:spPr>
      </p:pic>
      <p:sp>
        <p:nvSpPr>
          <p:cNvPr id="27" name="Text Placeholder 5">
            <a:extLst>
              <a:ext uri="{FF2B5EF4-FFF2-40B4-BE49-F238E27FC236}">
                <a16:creationId xmlns:a16="http://schemas.microsoft.com/office/drawing/2014/main" id="{E6A41CD3-3AF3-D74B-A1A6-8080A40DA33B}"/>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bg1"/>
                </a:solidFill>
              </a:defRPr>
            </a:lvl1pPr>
          </a:lstStyle>
          <a:p>
            <a:pPr lvl="0"/>
            <a:r>
              <a:rPr lang="en-US"/>
              <a:t>SUBHEADER</a:t>
            </a:r>
          </a:p>
        </p:txBody>
      </p:sp>
      <p:sp>
        <p:nvSpPr>
          <p:cNvPr id="28" name="Text Placeholder 5">
            <a:extLst>
              <a:ext uri="{FF2B5EF4-FFF2-40B4-BE49-F238E27FC236}">
                <a16:creationId xmlns:a16="http://schemas.microsoft.com/office/drawing/2014/main" id="{40905D1C-0BB7-1F41-A681-4572A094C58A}"/>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bg1"/>
                </a:solidFill>
              </a:defRPr>
            </a:lvl1pPr>
          </a:lstStyle>
          <a:p>
            <a:pPr lvl="0"/>
            <a:r>
              <a:rPr lang="en-US"/>
              <a:t>DIVIDER HEADLINE</a:t>
            </a:r>
          </a:p>
        </p:txBody>
      </p:sp>
      <p:sp>
        <p:nvSpPr>
          <p:cNvPr id="30" name="Slide Number Placeholder 8">
            <a:extLst>
              <a:ext uri="{FF2B5EF4-FFF2-40B4-BE49-F238E27FC236}">
                <a16:creationId xmlns:a16="http://schemas.microsoft.com/office/drawing/2014/main" id="{B2FE52D4-33F4-0B4F-9490-15C9F5E2FE19}"/>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35724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0D3B914B-7B29-D846-8212-73619B630DC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accent5"/>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tx2"/>
                </a:solidFill>
              </a:defRPr>
            </a:lvl1pPr>
          </a:lstStyle>
          <a:p>
            <a:pPr lvl="0"/>
            <a:r>
              <a:rPr lang="en-US"/>
              <a:t>SUBHEADER</a:t>
            </a:r>
          </a:p>
        </p:txBody>
      </p:sp>
      <p:pic>
        <p:nvPicPr>
          <p:cNvPr id="14" name="Picture 13">
            <a:extLst>
              <a:ext uri="{FF2B5EF4-FFF2-40B4-BE49-F238E27FC236}">
                <a16:creationId xmlns:a16="http://schemas.microsoft.com/office/drawing/2014/main" id="{5D2344C2-388E-8842-989A-EDA77345DE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3856" y="595116"/>
            <a:ext cx="3630914" cy="5667768"/>
          </a:xfrm>
          <a:prstGeom prst="rect">
            <a:avLst/>
          </a:prstGeom>
        </p:spPr>
      </p:pic>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tx2"/>
                </a:solidFill>
              </a:defRPr>
            </a:lvl1pPr>
          </a:lstStyle>
          <a:p>
            <a:pPr lvl="0"/>
            <a:r>
              <a:rPr lang="en-US"/>
              <a:t>DIVIDER HEADLINE</a:t>
            </a:r>
          </a:p>
        </p:txBody>
      </p:sp>
      <p:sp>
        <p:nvSpPr>
          <p:cNvPr id="17" name="Slide Number Placeholder 8">
            <a:extLst>
              <a:ext uri="{FF2B5EF4-FFF2-40B4-BE49-F238E27FC236}">
                <a16:creationId xmlns:a16="http://schemas.microsoft.com/office/drawing/2014/main" id="{C2CAE98B-EFE6-3046-B373-85986E35C463}"/>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6167924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Divider Slid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E3B7EC-670A-C648-9EDF-2995FAD78278}"/>
              </a:ext>
            </a:extLst>
          </p:cNvPr>
          <p:cNvSpPr/>
          <p:nvPr userDrawn="1"/>
        </p:nvSpPr>
        <p:spPr>
          <a:xfrm>
            <a:off x="9822873" y="0"/>
            <a:ext cx="2369127" cy="152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D9BE6EC4-EBD8-EC4A-9803-2BE12539A4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4555065"/>
            <a:ext cx="3880699" cy="2185169"/>
          </a:xfrm>
          <a:prstGeom prst="rect">
            <a:avLst/>
          </a:prstGeom>
        </p:spPr>
      </p:pic>
      <p:pic>
        <p:nvPicPr>
          <p:cNvPr id="10" name="Picture 9">
            <a:extLst>
              <a:ext uri="{FF2B5EF4-FFF2-40B4-BE49-F238E27FC236}">
                <a16:creationId xmlns:a16="http://schemas.microsoft.com/office/drawing/2014/main" id="{3E7AAA40-AEE5-0646-830F-801614ADE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2347529"/>
            <a:ext cx="3880699" cy="2185169"/>
          </a:xfrm>
          <a:prstGeom prst="rect">
            <a:avLst/>
          </a:prstGeom>
        </p:spPr>
      </p:pic>
      <p:pic>
        <p:nvPicPr>
          <p:cNvPr id="11" name="Picture 10">
            <a:extLst>
              <a:ext uri="{FF2B5EF4-FFF2-40B4-BE49-F238E27FC236}">
                <a16:creationId xmlns:a16="http://schemas.microsoft.com/office/drawing/2014/main" id="{9C3BA6B1-B1D5-E944-BCF4-46F8E17FCA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32388" y="117766"/>
            <a:ext cx="3880699" cy="2185169"/>
          </a:xfrm>
          <a:prstGeom prst="rect">
            <a:avLst/>
          </a:prstGeom>
        </p:spPr>
      </p:pic>
      <p:pic>
        <p:nvPicPr>
          <p:cNvPr id="13" name="Picture 12">
            <a:extLst>
              <a:ext uri="{FF2B5EF4-FFF2-40B4-BE49-F238E27FC236}">
                <a16:creationId xmlns:a16="http://schemas.microsoft.com/office/drawing/2014/main" id="{9AD71C98-F00F-3948-878C-DA0FB0505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4555065"/>
            <a:ext cx="3880699" cy="2185169"/>
          </a:xfrm>
          <a:prstGeom prst="rect">
            <a:avLst/>
          </a:prstGeom>
        </p:spPr>
      </p:pic>
      <p:pic>
        <p:nvPicPr>
          <p:cNvPr id="16" name="Picture 15">
            <a:extLst>
              <a:ext uri="{FF2B5EF4-FFF2-40B4-BE49-F238E27FC236}">
                <a16:creationId xmlns:a16="http://schemas.microsoft.com/office/drawing/2014/main" id="{B32CA199-7C63-3B4F-9D63-069D3FCB9F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2347529"/>
            <a:ext cx="3880699" cy="2185169"/>
          </a:xfrm>
          <a:prstGeom prst="rect">
            <a:avLst/>
          </a:prstGeom>
        </p:spPr>
      </p:pic>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0" name="Picture 19">
            <a:extLst>
              <a:ext uri="{FF2B5EF4-FFF2-40B4-BE49-F238E27FC236}">
                <a16:creationId xmlns:a16="http://schemas.microsoft.com/office/drawing/2014/main" id="{186F90E4-71AD-AC43-9C3D-2A0F1EB9D5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117766"/>
            <a:ext cx="3880699" cy="2185169"/>
          </a:xfrm>
          <a:prstGeom prst="rect">
            <a:avLst/>
          </a:prstGeom>
        </p:spPr>
      </p:pic>
      <p:pic>
        <p:nvPicPr>
          <p:cNvPr id="21" name="Picture 20">
            <a:extLst>
              <a:ext uri="{FF2B5EF4-FFF2-40B4-BE49-F238E27FC236}">
                <a16:creationId xmlns:a16="http://schemas.microsoft.com/office/drawing/2014/main" id="{C748B163-1B5B-9044-BB13-4017A5D4BE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4555065"/>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3" name="Picture 22">
            <a:extLst>
              <a:ext uri="{FF2B5EF4-FFF2-40B4-BE49-F238E27FC236}">
                <a16:creationId xmlns:a16="http://schemas.microsoft.com/office/drawing/2014/main" id="{9A9E35BB-F88A-934C-AB8D-946EBF21E1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117766"/>
            <a:ext cx="3880699" cy="2185169"/>
          </a:xfrm>
          <a:prstGeom prst="rect">
            <a:avLst/>
          </a:prstGeom>
        </p:spPr>
      </p:pic>
      <p:pic>
        <p:nvPicPr>
          <p:cNvPr id="24" name="Picture 23">
            <a:extLst>
              <a:ext uri="{FF2B5EF4-FFF2-40B4-BE49-F238E27FC236}">
                <a16:creationId xmlns:a16="http://schemas.microsoft.com/office/drawing/2014/main" id="{09D8700C-4E4A-1948-9E4E-3B2FFEA91C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4555065"/>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pic>
        <p:nvPicPr>
          <p:cNvPr id="27" name="Picture 26">
            <a:extLst>
              <a:ext uri="{FF2B5EF4-FFF2-40B4-BE49-F238E27FC236}">
                <a16:creationId xmlns:a16="http://schemas.microsoft.com/office/drawing/2014/main" id="{FEE87074-A55C-374D-9533-B5F6EC8E6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9094091" y="117766"/>
            <a:ext cx="3880699" cy="2185169"/>
          </a:xfrm>
          <a:prstGeom prst="rect">
            <a:avLst/>
          </a:prstGeom>
        </p:spPr>
      </p:pic>
      <p:pic>
        <p:nvPicPr>
          <p:cNvPr id="26" name="Picture 25">
            <a:extLst>
              <a:ext uri="{FF2B5EF4-FFF2-40B4-BE49-F238E27FC236}">
                <a16:creationId xmlns:a16="http://schemas.microsoft.com/office/drawing/2014/main" id="{8B2E7441-3F58-4749-9975-670846C14E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117766"/>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621783" y="631611"/>
            <a:ext cx="6948434" cy="5594779"/>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3"/>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3"/>
                </a:solidFill>
              </a:defRPr>
            </a:lvl1pPr>
          </a:lstStyle>
          <a:p>
            <a:pPr lvl="0"/>
            <a:r>
              <a:rPr lang="en-US"/>
              <a:t>DIVIDER HEADLINE</a:t>
            </a:r>
          </a:p>
        </p:txBody>
      </p:sp>
      <p:pic>
        <p:nvPicPr>
          <p:cNvPr id="28" name="Picture 27">
            <a:extLst>
              <a:ext uri="{FF2B5EF4-FFF2-40B4-BE49-F238E27FC236}">
                <a16:creationId xmlns:a16="http://schemas.microsoft.com/office/drawing/2014/main" id="{94BE0F4C-9736-9648-8CE3-69FB9D9EFE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4555065"/>
            <a:ext cx="3880699" cy="2185169"/>
          </a:xfrm>
          <a:prstGeom prst="rect">
            <a:avLst/>
          </a:prstGeom>
        </p:spPr>
      </p:pic>
    </p:spTree>
    <p:extLst>
      <p:ext uri="{BB962C8B-B14F-4D97-AF65-F5344CB8AC3E}">
        <p14:creationId xmlns:p14="http://schemas.microsoft.com/office/powerpoint/2010/main" val="3199554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200" fill="hold">
                                          <p:stCondLst>
                                            <p:cond delay="0"/>
                                          </p:stCondLst>
                                        </p:cTn>
                                        <p:tgtEl>
                                          <p:spTgt spid="11"/>
                                        </p:tgtEl>
                                        <p:attrNameLst>
                                          <p:attrName>r</p:attrName>
                                        </p:attrNameLst>
                                      </p:cBhvr>
                                    </p:animRot>
                                    <p:animRot by="-240000">
                                      <p:cBhvr>
                                        <p:cTn id="7" dur="400" fill="hold">
                                          <p:stCondLst>
                                            <p:cond delay="400"/>
                                          </p:stCondLst>
                                        </p:cTn>
                                        <p:tgtEl>
                                          <p:spTgt spid="11"/>
                                        </p:tgtEl>
                                        <p:attrNameLst>
                                          <p:attrName>r</p:attrName>
                                        </p:attrNameLst>
                                      </p:cBhvr>
                                    </p:animRot>
                                    <p:animRot by="240000">
                                      <p:cBhvr>
                                        <p:cTn id="8" dur="400" fill="hold">
                                          <p:stCondLst>
                                            <p:cond delay="800"/>
                                          </p:stCondLst>
                                        </p:cTn>
                                        <p:tgtEl>
                                          <p:spTgt spid="11"/>
                                        </p:tgtEl>
                                        <p:attrNameLst>
                                          <p:attrName>r</p:attrName>
                                        </p:attrNameLst>
                                      </p:cBhvr>
                                    </p:animRot>
                                    <p:animRot by="-240000">
                                      <p:cBhvr>
                                        <p:cTn id="9" dur="400" fill="hold">
                                          <p:stCondLst>
                                            <p:cond delay="1200"/>
                                          </p:stCondLst>
                                        </p:cTn>
                                        <p:tgtEl>
                                          <p:spTgt spid="11"/>
                                        </p:tgtEl>
                                        <p:attrNameLst>
                                          <p:attrName>r</p:attrName>
                                        </p:attrNameLst>
                                      </p:cBhvr>
                                    </p:animRot>
                                    <p:animRot by="120000">
                                      <p:cBhvr>
                                        <p:cTn id="10" dur="400" fill="hold">
                                          <p:stCondLst>
                                            <p:cond delay="1600"/>
                                          </p:stCondLst>
                                        </p:cTn>
                                        <p:tgtEl>
                                          <p:spTgt spid="11"/>
                                        </p:tgtEl>
                                        <p:attrNameLst>
                                          <p:attrName>r</p:attrName>
                                        </p:attrNameLst>
                                      </p:cBhvr>
                                    </p:animRot>
                                  </p:childTnLst>
                                </p:cTn>
                              </p:par>
                            </p:childTnLst>
                          </p:cTn>
                        </p:par>
                        <p:par>
                          <p:cTn id="11" fill="hold">
                            <p:stCondLst>
                              <p:cond delay="2000"/>
                            </p:stCondLst>
                            <p:childTnLst>
                              <p:par>
                                <p:cTn id="12" presetID="32" presetClass="emph" presetSubtype="0" fill="hold" nodeType="afterEffect">
                                  <p:stCondLst>
                                    <p:cond delay="0"/>
                                  </p:stCondLst>
                                  <p:childTnLst>
                                    <p:animRot by="120000">
                                      <p:cBhvr>
                                        <p:cTn id="13" dur="200" fill="hold">
                                          <p:stCondLst>
                                            <p:cond delay="0"/>
                                          </p:stCondLst>
                                        </p:cTn>
                                        <p:tgtEl>
                                          <p:spTgt spid="13"/>
                                        </p:tgtEl>
                                        <p:attrNameLst>
                                          <p:attrName>r</p:attrName>
                                        </p:attrNameLst>
                                      </p:cBhvr>
                                    </p:animRot>
                                    <p:animRot by="-240000">
                                      <p:cBhvr>
                                        <p:cTn id="14" dur="400" fill="hold">
                                          <p:stCondLst>
                                            <p:cond delay="400"/>
                                          </p:stCondLst>
                                        </p:cTn>
                                        <p:tgtEl>
                                          <p:spTgt spid="13"/>
                                        </p:tgtEl>
                                        <p:attrNameLst>
                                          <p:attrName>r</p:attrName>
                                        </p:attrNameLst>
                                      </p:cBhvr>
                                    </p:animRot>
                                    <p:animRot by="240000">
                                      <p:cBhvr>
                                        <p:cTn id="15" dur="400" fill="hold">
                                          <p:stCondLst>
                                            <p:cond delay="800"/>
                                          </p:stCondLst>
                                        </p:cTn>
                                        <p:tgtEl>
                                          <p:spTgt spid="13"/>
                                        </p:tgtEl>
                                        <p:attrNameLst>
                                          <p:attrName>r</p:attrName>
                                        </p:attrNameLst>
                                      </p:cBhvr>
                                    </p:animRot>
                                    <p:animRot by="-240000">
                                      <p:cBhvr>
                                        <p:cTn id="16" dur="400" fill="hold">
                                          <p:stCondLst>
                                            <p:cond delay="1200"/>
                                          </p:stCondLst>
                                        </p:cTn>
                                        <p:tgtEl>
                                          <p:spTgt spid="13"/>
                                        </p:tgtEl>
                                        <p:attrNameLst>
                                          <p:attrName>r</p:attrName>
                                        </p:attrNameLst>
                                      </p:cBhvr>
                                    </p:animRot>
                                    <p:animRot by="120000">
                                      <p:cBhvr>
                                        <p:cTn id="17" dur="400" fill="hold">
                                          <p:stCondLst>
                                            <p:cond delay="1600"/>
                                          </p:stCondLst>
                                        </p:cTn>
                                        <p:tgtEl>
                                          <p:spTgt spid="13"/>
                                        </p:tgtEl>
                                        <p:attrNameLst>
                                          <p:attrName>r</p:attrName>
                                        </p:attrNameLst>
                                      </p:cBhvr>
                                    </p:animRot>
                                  </p:childTnLst>
                                </p:cTn>
                              </p:par>
                            </p:childTnLst>
                          </p:cTn>
                        </p:par>
                        <p:par>
                          <p:cTn id="18" fill="hold">
                            <p:stCondLst>
                              <p:cond delay="4000"/>
                            </p:stCondLst>
                            <p:childTnLst>
                              <p:par>
                                <p:cTn id="19" presetID="32" presetClass="emph" presetSubtype="0" fill="hold" nodeType="afterEffect">
                                  <p:stCondLst>
                                    <p:cond delay="0"/>
                                  </p:stCondLst>
                                  <p:childTnLst>
                                    <p:animRot by="120000">
                                      <p:cBhvr>
                                        <p:cTn id="20" dur="200" fill="hold">
                                          <p:stCondLst>
                                            <p:cond delay="0"/>
                                          </p:stCondLst>
                                        </p:cTn>
                                        <p:tgtEl>
                                          <p:spTgt spid="20"/>
                                        </p:tgtEl>
                                        <p:attrNameLst>
                                          <p:attrName>r</p:attrName>
                                        </p:attrNameLst>
                                      </p:cBhvr>
                                    </p:animRot>
                                    <p:animRot by="-240000">
                                      <p:cBhvr>
                                        <p:cTn id="21" dur="400" fill="hold">
                                          <p:stCondLst>
                                            <p:cond delay="400"/>
                                          </p:stCondLst>
                                        </p:cTn>
                                        <p:tgtEl>
                                          <p:spTgt spid="20"/>
                                        </p:tgtEl>
                                        <p:attrNameLst>
                                          <p:attrName>r</p:attrName>
                                        </p:attrNameLst>
                                      </p:cBhvr>
                                    </p:animRot>
                                    <p:animRot by="240000">
                                      <p:cBhvr>
                                        <p:cTn id="22" dur="400" fill="hold">
                                          <p:stCondLst>
                                            <p:cond delay="800"/>
                                          </p:stCondLst>
                                        </p:cTn>
                                        <p:tgtEl>
                                          <p:spTgt spid="20"/>
                                        </p:tgtEl>
                                        <p:attrNameLst>
                                          <p:attrName>r</p:attrName>
                                        </p:attrNameLst>
                                      </p:cBhvr>
                                    </p:animRot>
                                    <p:animRot by="-240000">
                                      <p:cBhvr>
                                        <p:cTn id="23" dur="400" fill="hold">
                                          <p:stCondLst>
                                            <p:cond delay="1200"/>
                                          </p:stCondLst>
                                        </p:cTn>
                                        <p:tgtEl>
                                          <p:spTgt spid="20"/>
                                        </p:tgtEl>
                                        <p:attrNameLst>
                                          <p:attrName>r</p:attrName>
                                        </p:attrNameLst>
                                      </p:cBhvr>
                                    </p:animRot>
                                    <p:animRot by="120000">
                                      <p:cBhvr>
                                        <p:cTn id="24" dur="400" fill="hold">
                                          <p:stCondLst>
                                            <p:cond delay="1600"/>
                                          </p:stCondLst>
                                        </p:cTn>
                                        <p:tgtEl>
                                          <p:spTgt spid="20"/>
                                        </p:tgtEl>
                                        <p:attrNameLst>
                                          <p:attrName>r</p:attrName>
                                        </p:attrNameLst>
                                      </p:cBhvr>
                                    </p:animRot>
                                  </p:childTnLst>
                                </p:cTn>
                              </p:par>
                            </p:childTnLst>
                          </p:cTn>
                        </p:par>
                        <p:par>
                          <p:cTn id="25" fill="hold">
                            <p:stCondLst>
                              <p:cond delay="6000"/>
                            </p:stCondLst>
                            <p:childTnLst>
                              <p:par>
                                <p:cTn id="26" presetID="32" presetClass="emph" presetSubtype="0" fill="hold" nodeType="afterEffect">
                                  <p:stCondLst>
                                    <p:cond delay="0"/>
                                  </p:stCondLst>
                                  <p:childTnLst>
                                    <p:animRot by="120000">
                                      <p:cBhvr>
                                        <p:cTn id="27" dur="200" fill="hold">
                                          <p:stCondLst>
                                            <p:cond delay="0"/>
                                          </p:stCondLst>
                                        </p:cTn>
                                        <p:tgtEl>
                                          <p:spTgt spid="10"/>
                                        </p:tgtEl>
                                        <p:attrNameLst>
                                          <p:attrName>r</p:attrName>
                                        </p:attrNameLst>
                                      </p:cBhvr>
                                    </p:animRot>
                                    <p:animRot by="-240000">
                                      <p:cBhvr>
                                        <p:cTn id="28" dur="400" fill="hold">
                                          <p:stCondLst>
                                            <p:cond delay="400"/>
                                          </p:stCondLst>
                                        </p:cTn>
                                        <p:tgtEl>
                                          <p:spTgt spid="10"/>
                                        </p:tgtEl>
                                        <p:attrNameLst>
                                          <p:attrName>r</p:attrName>
                                        </p:attrNameLst>
                                      </p:cBhvr>
                                    </p:animRot>
                                    <p:animRot by="240000">
                                      <p:cBhvr>
                                        <p:cTn id="29" dur="400" fill="hold">
                                          <p:stCondLst>
                                            <p:cond delay="800"/>
                                          </p:stCondLst>
                                        </p:cTn>
                                        <p:tgtEl>
                                          <p:spTgt spid="10"/>
                                        </p:tgtEl>
                                        <p:attrNameLst>
                                          <p:attrName>r</p:attrName>
                                        </p:attrNameLst>
                                      </p:cBhvr>
                                    </p:animRot>
                                    <p:animRot by="-240000">
                                      <p:cBhvr>
                                        <p:cTn id="30" dur="400" fill="hold">
                                          <p:stCondLst>
                                            <p:cond delay="1200"/>
                                          </p:stCondLst>
                                        </p:cTn>
                                        <p:tgtEl>
                                          <p:spTgt spid="10"/>
                                        </p:tgtEl>
                                        <p:attrNameLst>
                                          <p:attrName>r</p:attrName>
                                        </p:attrNameLst>
                                      </p:cBhvr>
                                    </p:animRot>
                                    <p:animRot by="120000">
                                      <p:cBhvr>
                                        <p:cTn id="31" dur="400" fill="hold">
                                          <p:stCondLst>
                                            <p:cond delay="1600"/>
                                          </p:stCondLst>
                                        </p:cTn>
                                        <p:tgtEl>
                                          <p:spTgt spid="10"/>
                                        </p:tgtEl>
                                        <p:attrNameLst>
                                          <p:attrName>r</p:attrName>
                                        </p:attrNameLst>
                                      </p:cBhvr>
                                    </p:animRot>
                                  </p:childTnLst>
                                </p:cTn>
                              </p:par>
                            </p:childTnLst>
                          </p:cTn>
                        </p:par>
                        <p:par>
                          <p:cTn id="32" fill="hold">
                            <p:stCondLst>
                              <p:cond delay="8000"/>
                            </p:stCondLst>
                            <p:childTnLst>
                              <p:par>
                                <p:cTn id="33" presetID="32" presetClass="emph" presetSubtype="0" fill="hold" nodeType="afterEffect">
                                  <p:stCondLst>
                                    <p:cond delay="0"/>
                                  </p:stCondLst>
                                  <p:childTnLst>
                                    <p:animRot by="120000">
                                      <p:cBhvr>
                                        <p:cTn id="34" dur="200" fill="hold">
                                          <p:stCondLst>
                                            <p:cond delay="0"/>
                                          </p:stCondLst>
                                        </p:cTn>
                                        <p:tgtEl>
                                          <p:spTgt spid="24"/>
                                        </p:tgtEl>
                                        <p:attrNameLst>
                                          <p:attrName>r</p:attrName>
                                        </p:attrNameLst>
                                      </p:cBhvr>
                                    </p:animRot>
                                    <p:animRot by="-240000">
                                      <p:cBhvr>
                                        <p:cTn id="35" dur="400" fill="hold">
                                          <p:stCondLst>
                                            <p:cond delay="400"/>
                                          </p:stCondLst>
                                        </p:cTn>
                                        <p:tgtEl>
                                          <p:spTgt spid="24"/>
                                        </p:tgtEl>
                                        <p:attrNameLst>
                                          <p:attrName>r</p:attrName>
                                        </p:attrNameLst>
                                      </p:cBhvr>
                                    </p:animRot>
                                    <p:animRot by="240000">
                                      <p:cBhvr>
                                        <p:cTn id="36" dur="400" fill="hold">
                                          <p:stCondLst>
                                            <p:cond delay="800"/>
                                          </p:stCondLst>
                                        </p:cTn>
                                        <p:tgtEl>
                                          <p:spTgt spid="24"/>
                                        </p:tgtEl>
                                        <p:attrNameLst>
                                          <p:attrName>r</p:attrName>
                                        </p:attrNameLst>
                                      </p:cBhvr>
                                    </p:animRot>
                                    <p:animRot by="-240000">
                                      <p:cBhvr>
                                        <p:cTn id="37" dur="400" fill="hold">
                                          <p:stCondLst>
                                            <p:cond delay="1200"/>
                                          </p:stCondLst>
                                        </p:cTn>
                                        <p:tgtEl>
                                          <p:spTgt spid="24"/>
                                        </p:tgtEl>
                                        <p:attrNameLst>
                                          <p:attrName>r</p:attrName>
                                        </p:attrNameLst>
                                      </p:cBhvr>
                                    </p:animRot>
                                    <p:animRot by="120000">
                                      <p:cBhvr>
                                        <p:cTn id="38" dur="400" fill="hold">
                                          <p:stCondLst>
                                            <p:cond delay="1600"/>
                                          </p:stCondLst>
                                        </p:cTn>
                                        <p:tgtEl>
                                          <p:spTgt spid="24"/>
                                        </p:tgtEl>
                                        <p:attrNameLst>
                                          <p:attrName>r</p:attrName>
                                        </p:attrNameLst>
                                      </p:cBhvr>
                                    </p:animRot>
                                  </p:childTnLst>
                                </p:cTn>
                              </p:par>
                            </p:childTnLst>
                          </p:cTn>
                        </p:par>
                        <p:par>
                          <p:cTn id="39" fill="hold">
                            <p:stCondLst>
                              <p:cond delay="10000"/>
                            </p:stCondLst>
                            <p:childTnLst>
                              <p:par>
                                <p:cTn id="40" presetID="32" presetClass="emph" presetSubtype="0" fill="hold" nodeType="afterEffect">
                                  <p:stCondLst>
                                    <p:cond delay="0"/>
                                  </p:stCondLst>
                                  <p:childTnLst>
                                    <p:animRot by="120000">
                                      <p:cBhvr>
                                        <p:cTn id="41" dur="200" fill="hold">
                                          <p:stCondLst>
                                            <p:cond delay="0"/>
                                          </p:stCondLst>
                                        </p:cTn>
                                        <p:tgtEl>
                                          <p:spTgt spid="27"/>
                                        </p:tgtEl>
                                        <p:attrNameLst>
                                          <p:attrName>r</p:attrName>
                                        </p:attrNameLst>
                                      </p:cBhvr>
                                    </p:animRot>
                                    <p:animRot by="-240000">
                                      <p:cBhvr>
                                        <p:cTn id="42" dur="400" fill="hold">
                                          <p:stCondLst>
                                            <p:cond delay="400"/>
                                          </p:stCondLst>
                                        </p:cTn>
                                        <p:tgtEl>
                                          <p:spTgt spid="27"/>
                                        </p:tgtEl>
                                        <p:attrNameLst>
                                          <p:attrName>r</p:attrName>
                                        </p:attrNameLst>
                                      </p:cBhvr>
                                    </p:animRot>
                                    <p:animRot by="240000">
                                      <p:cBhvr>
                                        <p:cTn id="43" dur="400" fill="hold">
                                          <p:stCondLst>
                                            <p:cond delay="800"/>
                                          </p:stCondLst>
                                        </p:cTn>
                                        <p:tgtEl>
                                          <p:spTgt spid="27"/>
                                        </p:tgtEl>
                                        <p:attrNameLst>
                                          <p:attrName>r</p:attrName>
                                        </p:attrNameLst>
                                      </p:cBhvr>
                                    </p:animRot>
                                    <p:animRot by="-240000">
                                      <p:cBhvr>
                                        <p:cTn id="44" dur="400" fill="hold">
                                          <p:stCondLst>
                                            <p:cond delay="1200"/>
                                          </p:stCondLst>
                                        </p:cTn>
                                        <p:tgtEl>
                                          <p:spTgt spid="27"/>
                                        </p:tgtEl>
                                        <p:attrNameLst>
                                          <p:attrName>r</p:attrName>
                                        </p:attrNameLst>
                                      </p:cBhvr>
                                    </p:animRot>
                                    <p:animRot by="120000">
                                      <p:cBhvr>
                                        <p:cTn id="45" dur="400" fill="hold">
                                          <p:stCondLst>
                                            <p:cond delay="1600"/>
                                          </p:stCondLst>
                                        </p:cTn>
                                        <p:tgtEl>
                                          <p:spTgt spid="27"/>
                                        </p:tgtEl>
                                        <p:attrNameLst>
                                          <p:attrName>r</p:attrName>
                                        </p:attrNameLst>
                                      </p:cBhvr>
                                    </p:animRot>
                                  </p:childTnLst>
                                </p:cTn>
                              </p:par>
                            </p:childTnLst>
                          </p:cTn>
                        </p:par>
                        <p:par>
                          <p:cTn id="46" fill="hold">
                            <p:stCondLst>
                              <p:cond delay="12000"/>
                            </p:stCondLst>
                            <p:childTnLst>
                              <p:par>
                                <p:cTn id="47" presetID="32" presetClass="emph" presetSubtype="0" fill="hold" nodeType="afterEffect">
                                  <p:stCondLst>
                                    <p:cond delay="0"/>
                                  </p:stCondLst>
                                  <p:childTnLst>
                                    <p:animRot by="120000">
                                      <p:cBhvr>
                                        <p:cTn id="48" dur="200" fill="hold">
                                          <p:stCondLst>
                                            <p:cond delay="0"/>
                                          </p:stCondLst>
                                        </p:cTn>
                                        <p:tgtEl>
                                          <p:spTgt spid="9"/>
                                        </p:tgtEl>
                                        <p:attrNameLst>
                                          <p:attrName>r</p:attrName>
                                        </p:attrNameLst>
                                      </p:cBhvr>
                                    </p:animRot>
                                    <p:animRot by="-240000">
                                      <p:cBhvr>
                                        <p:cTn id="49" dur="400" fill="hold">
                                          <p:stCondLst>
                                            <p:cond delay="400"/>
                                          </p:stCondLst>
                                        </p:cTn>
                                        <p:tgtEl>
                                          <p:spTgt spid="9"/>
                                        </p:tgtEl>
                                        <p:attrNameLst>
                                          <p:attrName>r</p:attrName>
                                        </p:attrNameLst>
                                      </p:cBhvr>
                                    </p:animRot>
                                    <p:animRot by="240000">
                                      <p:cBhvr>
                                        <p:cTn id="50" dur="400" fill="hold">
                                          <p:stCondLst>
                                            <p:cond delay="800"/>
                                          </p:stCondLst>
                                        </p:cTn>
                                        <p:tgtEl>
                                          <p:spTgt spid="9"/>
                                        </p:tgtEl>
                                        <p:attrNameLst>
                                          <p:attrName>r</p:attrName>
                                        </p:attrNameLst>
                                      </p:cBhvr>
                                    </p:animRot>
                                    <p:animRot by="-240000">
                                      <p:cBhvr>
                                        <p:cTn id="51" dur="400" fill="hold">
                                          <p:stCondLst>
                                            <p:cond delay="1200"/>
                                          </p:stCondLst>
                                        </p:cTn>
                                        <p:tgtEl>
                                          <p:spTgt spid="9"/>
                                        </p:tgtEl>
                                        <p:attrNameLst>
                                          <p:attrName>r</p:attrName>
                                        </p:attrNameLst>
                                      </p:cBhvr>
                                    </p:animRot>
                                    <p:animRot by="120000">
                                      <p:cBhvr>
                                        <p:cTn id="52" dur="400" fill="hold">
                                          <p:stCondLst>
                                            <p:cond delay="1600"/>
                                          </p:stCondLst>
                                        </p:cTn>
                                        <p:tgtEl>
                                          <p:spTgt spid="9"/>
                                        </p:tgtEl>
                                        <p:attrNameLst>
                                          <p:attrName>r</p:attrName>
                                        </p:attrNameLst>
                                      </p:cBhvr>
                                    </p:animRot>
                                  </p:childTnLst>
                                </p:cTn>
                              </p:par>
                            </p:childTnLst>
                          </p:cTn>
                        </p:par>
                        <p:par>
                          <p:cTn id="53" fill="hold">
                            <p:stCondLst>
                              <p:cond delay="14000"/>
                            </p:stCondLst>
                            <p:childTnLst>
                              <p:par>
                                <p:cTn id="54" presetID="32" presetClass="emph" presetSubtype="0" fill="hold" nodeType="afterEffect">
                                  <p:stCondLst>
                                    <p:cond delay="0"/>
                                  </p:stCondLst>
                                  <p:childTnLst>
                                    <p:animRot by="120000">
                                      <p:cBhvr>
                                        <p:cTn id="55" dur="200" fill="hold">
                                          <p:stCondLst>
                                            <p:cond delay="0"/>
                                          </p:stCondLst>
                                        </p:cTn>
                                        <p:tgtEl>
                                          <p:spTgt spid="28"/>
                                        </p:tgtEl>
                                        <p:attrNameLst>
                                          <p:attrName>r</p:attrName>
                                        </p:attrNameLst>
                                      </p:cBhvr>
                                    </p:animRot>
                                    <p:animRot by="-240000">
                                      <p:cBhvr>
                                        <p:cTn id="56" dur="400" fill="hold">
                                          <p:stCondLst>
                                            <p:cond delay="400"/>
                                          </p:stCondLst>
                                        </p:cTn>
                                        <p:tgtEl>
                                          <p:spTgt spid="28"/>
                                        </p:tgtEl>
                                        <p:attrNameLst>
                                          <p:attrName>r</p:attrName>
                                        </p:attrNameLst>
                                      </p:cBhvr>
                                    </p:animRot>
                                    <p:animRot by="240000">
                                      <p:cBhvr>
                                        <p:cTn id="57" dur="400" fill="hold">
                                          <p:stCondLst>
                                            <p:cond delay="800"/>
                                          </p:stCondLst>
                                        </p:cTn>
                                        <p:tgtEl>
                                          <p:spTgt spid="28"/>
                                        </p:tgtEl>
                                        <p:attrNameLst>
                                          <p:attrName>r</p:attrName>
                                        </p:attrNameLst>
                                      </p:cBhvr>
                                    </p:animRot>
                                    <p:animRot by="-240000">
                                      <p:cBhvr>
                                        <p:cTn id="58" dur="400" fill="hold">
                                          <p:stCondLst>
                                            <p:cond delay="1200"/>
                                          </p:stCondLst>
                                        </p:cTn>
                                        <p:tgtEl>
                                          <p:spTgt spid="28"/>
                                        </p:tgtEl>
                                        <p:attrNameLst>
                                          <p:attrName>r</p:attrName>
                                        </p:attrNameLst>
                                      </p:cBhvr>
                                    </p:animRot>
                                    <p:animRot by="120000">
                                      <p:cBhvr>
                                        <p:cTn id="59" dur="400" fill="hold">
                                          <p:stCondLst>
                                            <p:cond delay="1600"/>
                                          </p:stCondLst>
                                        </p:cTn>
                                        <p:tgtEl>
                                          <p:spTgt spid="2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B5F41"/>
          </a:solidFill>
        </p:spPr>
        <p:txBody>
          <a:bodyPr wrap="square" lIns="0" tIns="0" rIns="0" bIns="0" rtlCol="0"/>
          <a:lstStyle/>
          <a:p>
            <a:endParaRPr dirty="0"/>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10209276" y="5914644"/>
            <a:ext cx="1886712" cy="775716"/>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Divider Slide">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0FF3A38-D430-694E-8F73-F74154505EB8}"/>
              </a:ext>
            </a:extLst>
          </p:cNvPr>
          <p:cNvSpPr/>
          <p:nvPr userDrawn="1"/>
        </p:nvSpPr>
        <p:spPr>
          <a:xfrm>
            <a:off x="9822873" y="0"/>
            <a:ext cx="2369127" cy="1523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bg1">
                <a:lumMod val="90000"/>
                <a:lumOff val="1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1"/>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1"/>
                </a:solidFill>
              </a:defRPr>
            </a:lvl1pPr>
          </a:lstStyle>
          <a:p>
            <a:pPr lvl="0"/>
            <a:r>
              <a:rPr lang="en-US"/>
              <a:t>DIVIDER HEADLINE</a:t>
            </a:r>
          </a:p>
        </p:txBody>
      </p:sp>
      <p:pic>
        <p:nvPicPr>
          <p:cNvPr id="30" name="Picture 29">
            <a:extLst>
              <a:ext uri="{FF2B5EF4-FFF2-40B4-BE49-F238E27FC236}">
                <a16:creationId xmlns:a16="http://schemas.microsoft.com/office/drawing/2014/main" id="{19159B10-E009-754C-913E-8FC8EA962E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7450763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Divider Slide">
    <p:bg>
      <p:bgPr>
        <a:solidFill>
          <a:schemeClr val="accent4"/>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E1855FE-2C3E-FE4C-AD62-2C05043ED757}"/>
              </a:ext>
            </a:extLst>
          </p:cNvPr>
          <p:cNvSpPr/>
          <p:nvPr userDrawn="1"/>
        </p:nvSpPr>
        <p:spPr>
          <a:xfrm>
            <a:off x="9822873" y="0"/>
            <a:ext cx="2369127" cy="1523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accent4">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tx1"/>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tx1"/>
                </a:solidFill>
              </a:defRPr>
            </a:lvl1pPr>
          </a:lstStyle>
          <a:p>
            <a:pPr lvl="0"/>
            <a:r>
              <a:rPr lang="en-US"/>
              <a:t>DIVIDER HEADLINE</a:t>
            </a:r>
          </a:p>
        </p:txBody>
      </p:sp>
      <p:pic>
        <p:nvPicPr>
          <p:cNvPr id="11" name="Picture 10">
            <a:extLst>
              <a:ext uri="{FF2B5EF4-FFF2-40B4-BE49-F238E27FC236}">
                <a16:creationId xmlns:a16="http://schemas.microsoft.com/office/drawing/2014/main" id="{43F7F3DD-E513-0F44-AF08-5354F0E328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14381770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Divider Slide">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D304DF-D40F-B845-AC0A-45CD82390529}"/>
              </a:ext>
            </a:extLst>
          </p:cNvPr>
          <p:cNvSpPr/>
          <p:nvPr userDrawn="1"/>
        </p:nvSpPr>
        <p:spPr>
          <a:xfrm>
            <a:off x="9822873" y="0"/>
            <a:ext cx="2369127" cy="15237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16685116-F388-3A42-910E-209D416B1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6662472" y="2347529"/>
            <a:ext cx="3880699" cy="2185169"/>
          </a:xfrm>
          <a:prstGeom prst="rect">
            <a:avLst/>
          </a:prstGeom>
        </p:spPr>
      </p:pic>
      <p:pic>
        <p:nvPicPr>
          <p:cNvPr id="22" name="Picture 21">
            <a:extLst>
              <a:ext uri="{FF2B5EF4-FFF2-40B4-BE49-F238E27FC236}">
                <a16:creationId xmlns:a16="http://schemas.microsoft.com/office/drawing/2014/main" id="{6C113AE7-D8B3-4F42-BE85-F7BDB990E2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4230852" y="2347529"/>
            <a:ext cx="3880699" cy="2185169"/>
          </a:xfrm>
          <a:prstGeom prst="rect">
            <a:avLst/>
          </a:prstGeom>
        </p:spPr>
      </p:pic>
      <p:pic>
        <p:nvPicPr>
          <p:cNvPr id="25" name="Picture 24">
            <a:extLst>
              <a:ext uri="{FF2B5EF4-FFF2-40B4-BE49-F238E27FC236}">
                <a16:creationId xmlns:a16="http://schemas.microsoft.com/office/drawing/2014/main" id="{46A44904-41E5-634B-8860-D1C4A07054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0000">
            <a:off x="1799232" y="2347529"/>
            <a:ext cx="3880699" cy="2185169"/>
          </a:xfrm>
          <a:prstGeom prst="rect">
            <a:avLst/>
          </a:prstGeom>
        </p:spPr>
      </p:pic>
      <p:sp>
        <p:nvSpPr>
          <p:cNvPr id="31" name="Oval 6">
            <a:extLst>
              <a:ext uri="{FF2B5EF4-FFF2-40B4-BE49-F238E27FC236}">
                <a16:creationId xmlns:a16="http://schemas.microsoft.com/office/drawing/2014/main" id="{9A722B9C-1E95-0C41-B619-ADB1FB35F446}"/>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a:outerShdw blurRad="190500" dist="12700" algn="ctr" rotWithShape="0">
              <a:schemeClr val="accent5">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5">
            <a:extLst>
              <a:ext uri="{FF2B5EF4-FFF2-40B4-BE49-F238E27FC236}">
                <a16:creationId xmlns:a16="http://schemas.microsoft.com/office/drawing/2014/main" id="{B43435D6-78D5-634F-BDBD-6ACFF0A8A035}"/>
              </a:ext>
            </a:extLst>
          </p:cNvPr>
          <p:cNvSpPr>
            <a:spLocks noGrp="1"/>
          </p:cNvSpPr>
          <p:nvPr>
            <p:ph type="body" sz="quarter" idx="11" hasCustomPrompt="1"/>
          </p:nvPr>
        </p:nvSpPr>
        <p:spPr>
          <a:xfrm>
            <a:off x="3294122" y="1421741"/>
            <a:ext cx="5603756" cy="1335382"/>
          </a:xfrm>
        </p:spPr>
        <p:txBody>
          <a:bodyPr anchor="b">
            <a:noAutofit/>
          </a:bodyPr>
          <a:lstStyle>
            <a:lvl1pPr algn="ctr">
              <a:defRPr sz="2000" b="0" spc="300">
                <a:solidFill>
                  <a:schemeClr val="accent4"/>
                </a:solidFill>
              </a:defRPr>
            </a:lvl1pPr>
          </a:lstStyle>
          <a:p>
            <a:pPr lvl="0"/>
            <a:r>
              <a:rPr lang="en-US"/>
              <a:t>SUBHEADER</a:t>
            </a:r>
          </a:p>
        </p:txBody>
      </p:sp>
      <p:sp>
        <p:nvSpPr>
          <p:cNvPr id="15" name="Text Placeholder 5">
            <a:extLst>
              <a:ext uri="{FF2B5EF4-FFF2-40B4-BE49-F238E27FC236}">
                <a16:creationId xmlns:a16="http://schemas.microsoft.com/office/drawing/2014/main" id="{4DE367E5-3DEE-3F40-8636-125A81CDE82A}"/>
              </a:ext>
            </a:extLst>
          </p:cNvPr>
          <p:cNvSpPr>
            <a:spLocks noGrp="1"/>
          </p:cNvSpPr>
          <p:nvPr>
            <p:ph type="body" sz="quarter" idx="10" hasCustomPrompt="1"/>
          </p:nvPr>
        </p:nvSpPr>
        <p:spPr>
          <a:xfrm>
            <a:off x="3294122" y="2586272"/>
            <a:ext cx="5603756" cy="3169421"/>
          </a:xfrm>
        </p:spPr>
        <p:txBody>
          <a:bodyPr anchor="t">
            <a:normAutofit/>
          </a:bodyPr>
          <a:lstStyle>
            <a:lvl1pPr algn="ctr">
              <a:defRPr sz="5400" b="1">
                <a:solidFill>
                  <a:schemeClr val="accent4"/>
                </a:solidFill>
              </a:defRPr>
            </a:lvl1pPr>
          </a:lstStyle>
          <a:p>
            <a:pPr lvl="0"/>
            <a:r>
              <a:rPr lang="en-US"/>
              <a:t>DIVIDER HEADLINE</a:t>
            </a:r>
          </a:p>
        </p:txBody>
      </p:sp>
      <p:pic>
        <p:nvPicPr>
          <p:cNvPr id="8" name="Picture 7">
            <a:extLst>
              <a:ext uri="{FF2B5EF4-FFF2-40B4-BE49-F238E27FC236}">
                <a16:creationId xmlns:a16="http://schemas.microsoft.com/office/drawing/2014/main" id="{23F0BD42-F782-104C-84B5-E16E22111B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24050" y="366081"/>
            <a:ext cx="1253449" cy="486904"/>
          </a:xfrm>
          <a:prstGeom prst="rect">
            <a:avLst/>
          </a:prstGeom>
        </p:spPr>
      </p:pic>
    </p:spTree>
    <p:extLst>
      <p:ext uri="{BB962C8B-B14F-4D97-AF65-F5344CB8AC3E}">
        <p14:creationId xmlns:p14="http://schemas.microsoft.com/office/powerpoint/2010/main" val="3006178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Unifying Framewor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2351C0-8318-FE4C-9FC5-9E951AC45F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9915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ur Purpose">
    <p:bg>
      <p:bgPr>
        <a:solidFill>
          <a:schemeClr val="tx2"/>
        </a:solidFill>
        <a:effectLst/>
      </p:bgPr>
    </p:bg>
    <p:spTree>
      <p:nvGrpSpPr>
        <p:cNvPr id="1" name=""/>
        <p:cNvGrpSpPr/>
        <p:nvPr/>
      </p:nvGrpSpPr>
      <p:grpSpPr>
        <a:xfrm>
          <a:off x="0" y="0"/>
          <a:ext cx="0" cy="0"/>
          <a:chOff x="0" y="0"/>
          <a:chExt cx="0" cy="0"/>
        </a:xfrm>
      </p:grpSpPr>
      <p:sp>
        <p:nvSpPr>
          <p:cNvPr id="3" name="Oval 9">
            <a:extLst>
              <a:ext uri="{FF2B5EF4-FFF2-40B4-BE49-F238E27FC236}">
                <a16:creationId xmlns:a16="http://schemas.microsoft.com/office/drawing/2014/main" id="{9E8A5C6F-D88E-CC43-B3DA-C5B18518B417}"/>
              </a:ext>
            </a:extLst>
          </p:cNvPr>
          <p:cNvSpPr/>
          <p:nvPr userDrawn="1"/>
        </p:nvSpPr>
        <p:spPr>
          <a:xfrm>
            <a:off x="2649098" y="366811"/>
            <a:ext cx="6893804" cy="6124379"/>
          </a:xfrm>
          <a:custGeom>
            <a:avLst/>
            <a:gdLst>
              <a:gd name="connsiteX0" fmla="*/ 0 w 6545465"/>
              <a:gd name="connsiteY0" fmla="*/ 3272733 h 6545465"/>
              <a:gd name="connsiteX1" fmla="*/ 3272733 w 6545465"/>
              <a:gd name="connsiteY1" fmla="*/ 0 h 6545465"/>
              <a:gd name="connsiteX2" fmla="*/ 6545466 w 6545465"/>
              <a:gd name="connsiteY2" fmla="*/ 3272733 h 6545465"/>
              <a:gd name="connsiteX3" fmla="*/ 3272733 w 6545465"/>
              <a:gd name="connsiteY3" fmla="*/ 6545466 h 6545465"/>
              <a:gd name="connsiteX4" fmla="*/ 0 w 6545465"/>
              <a:gd name="connsiteY4" fmla="*/ 3272733 h 6545465"/>
              <a:gd name="connsiteX0" fmla="*/ 0 w 6545466"/>
              <a:gd name="connsiteY0" fmla="*/ 3276900 h 6549633"/>
              <a:gd name="connsiteX1" fmla="*/ 3272733 w 6545466"/>
              <a:gd name="connsiteY1" fmla="*/ 4167 h 6549633"/>
              <a:gd name="connsiteX2" fmla="*/ 6545466 w 6545466"/>
              <a:gd name="connsiteY2" fmla="*/ 3276900 h 6549633"/>
              <a:gd name="connsiteX3" fmla="*/ 3272733 w 6545466"/>
              <a:gd name="connsiteY3" fmla="*/ 6549633 h 6549633"/>
              <a:gd name="connsiteX4" fmla="*/ 0 w 6545466"/>
              <a:gd name="connsiteY4" fmla="*/ 3276900 h 6549633"/>
              <a:gd name="connsiteX0" fmla="*/ 79808 w 6625274"/>
              <a:gd name="connsiteY0" fmla="*/ 3276900 h 6549633"/>
              <a:gd name="connsiteX1" fmla="*/ 3352541 w 6625274"/>
              <a:gd name="connsiteY1" fmla="*/ 4167 h 6549633"/>
              <a:gd name="connsiteX2" fmla="*/ 6625274 w 6625274"/>
              <a:gd name="connsiteY2" fmla="*/ 3276900 h 6549633"/>
              <a:gd name="connsiteX3" fmla="*/ 3352541 w 6625274"/>
              <a:gd name="connsiteY3" fmla="*/ 6549633 h 6549633"/>
              <a:gd name="connsiteX4" fmla="*/ 79808 w 6625274"/>
              <a:gd name="connsiteY4" fmla="*/ 3276900 h 6549633"/>
              <a:gd name="connsiteX0" fmla="*/ 79808 w 6726703"/>
              <a:gd name="connsiteY0" fmla="*/ 3276900 h 6549633"/>
              <a:gd name="connsiteX1" fmla="*/ 3352541 w 6726703"/>
              <a:gd name="connsiteY1" fmla="*/ 4167 h 6549633"/>
              <a:gd name="connsiteX2" fmla="*/ 6625274 w 6726703"/>
              <a:gd name="connsiteY2" fmla="*/ 3276900 h 6549633"/>
              <a:gd name="connsiteX3" fmla="*/ 3352541 w 6726703"/>
              <a:gd name="connsiteY3" fmla="*/ 6549633 h 6549633"/>
              <a:gd name="connsiteX4" fmla="*/ 79808 w 6726703"/>
              <a:gd name="connsiteY4" fmla="*/ 3276900 h 6549633"/>
              <a:gd name="connsiteX0" fmla="*/ 79808 w 6726703"/>
              <a:gd name="connsiteY0" fmla="*/ 3276900 h 6552821"/>
              <a:gd name="connsiteX1" fmla="*/ 3352541 w 6726703"/>
              <a:gd name="connsiteY1" fmla="*/ 4167 h 6552821"/>
              <a:gd name="connsiteX2" fmla="*/ 6625274 w 6726703"/>
              <a:gd name="connsiteY2" fmla="*/ 3276900 h 6552821"/>
              <a:gd name="connsiteX3" fmla="*/ 3352541 w 6726703"/>
              <a:gd name="connsiteY3" fmla="*/ 6549633 h 6552821"/>
              <a:gd name="connsiteX4" fmla="*/ 79808 w 6726703"/>
              <a:gd name="connsiteY4" fmla="*/ 3276900 h 6552821"/>
              <a:gd name="connsiteX0" fmla="*/ 79808 w 6676818"/>
              <a:gd name="connsiteY0" fmla="*/ 3277228 h 6553149"/>
              <a:gd name="connsiteX1" fmla="*/ 3352541 w 6676818"/>
              <a:gd name="connsiteY1" fmla="*/ 4495 h 6553149"/>
              <a:gd name="connsiteX2" fmla="*/ 6625274 w 6676818"/>
              <a:gd name="connsiteY2" fmla="*/ 3277228 h 6553149"/>
              <a:gd name="connsiteX3" fmla="*/ 3352541 w 6676818"/>
              <a:gd name="connsiteY3" fmla="*/ 6549961 h 6553149"/>
              <a:gd name="connsiteX4" fmla="*/ 79808 w 6676818"/>
              <a:gd name="connsiteY4" fmla="*/ 3277228 h 6553149"/>
              <a:gd name="connsiteX0" fmla="*/ 79808 w 6643641"/>
              <a:gd name="connsiteY0" fmla="*/ 3277803 h 6553724"/>
              <a:gd name="connsiteX1" fmla="*/ 3352541 w 6643641"/>
              <a:gd name="connsiteY1" fmla="*/ 5070 h 6553724"/>
              <a:gd name="connsiteX2" fmla="*/ 6625274 w 6643641"/>
              <a:gd name="connsiteY2" fmla="*/ 3277803 h 6553724"/>
              <a:gd name="connsiteX3" fmla="*/ 3352541 w 6643641"/>
              <a:gd name="connsiteY3" fmla="*/ 6550536 h 6553724"/>
              <a:gd name="connsiteX4" fmla="*/ 79808 w 6643641"/>
              <a:gd name="connsiteY4" fmla="*/ 3277803 h 6553724"/>
              <a:gd name="connsiteX0" fmla="*/ 39113 w 6877484"/>
              <a:gd name="connsiteY0" fmla="*/ 3275798 h 6550368"/>
              <a:gd name="connsiteX1" fmla="*/ 3311846 w 6877484"/>
              <a:gd name="connsiteY1" fmla="*/ 3065 h 6550368"/>
              <a:gd name="connsiteX2" fmla="*/ 6871182 w 6877484"/>
              <a:gd name="connsiteY2" fmla="*/ 2907309 h 6550368"/>
              <a:gd name="connsiteX3" fmla="*/ 3311846 w 6877484"/>
              <a:gd name="connsiteY3" fmla="*/ 6548531 h 6550368"/>
              <a:gd name="connsiteX4" fmla="*/ 39113 w 6877484"/>
              <a:gd name="connsiteY4" fmla="*/ 3275798 h 6550368"/>
              <a:gd name="connsiteX0" fmla="*/ 29741 w 6868112"/>
              <a:gd name="connsiteY0" fmla="*/ 3275798 h 6551045"/>
              <a:gd name="connsiteX1" fmla="*/ 3302474 w 6868112"/>
              <a:gd name="connsiteY1" fmla="*/ 3065 h 6551045"/>
              <a:gd name="connsiteX2" fmla="*/ 6861810 w 6868112"/>
              <a:gd name="connsiteY2" fmla="*/ 2907309 h 6551045"/>
              <a:gd name="connsiteX3" fmla="*/ 3302474 w 6868112"/>
              <a:gd name="connsiteY3" fmla="*/ 6548531 h 6551045"/>
              <a:gd name="connsiteX4" fmla="*/ 29741 w 6868112"/>
              <a:gd name="connsiteY4" fmla="*/ 3275798 h 6551045"/>
              <a:gd name="connsiteX0" fmla="*/ 29741 w 6868112"/>
              <a:gd name="connsiteY0" fmla="*/ 3275798 h 6551045"/>
              <a:gd name="connsiteX1" fmla="*/ 3302474 w 6868112"/>
              <a:gd name="connsiteY1" fmla="*/ 3065 h 6551045"/>
              <a:gd name="connsiteX2" fmla="*/ 6861810 w 6868112"/>
              <a:gd name="connsiteY2" fmla="*/ 2907309 h 6551045"/>
              <a:gd name="connsiteX3" fmla="*/ 3302474 w 6868112"/>
              <a:gd name="connsiteY3" fmla="*/ 6548531 h 6551045"/>
              <a:gd name="connsiteX4" fmla="*/ 29741 w 6868112"/>
              <a:gd name="connsiteY4" fmla="*/ 3275798 h 6551045"/>
              <a:gd name="connsiteX0" fmla="*/ 2708 w 6839034"/>
              <a:gd name="connsiteY0" fmla="*/ 3274194 h 6452672"/>
              <a:gd name="connsiteX1" fmla="*/ 3275441 w 6839034"/>
              <a:gd name="connsiteY1" fmla="*/ 1461 h 6452672"/>
              <a:gd name="connsiteX2" fmla="*/ 6834777 w 6839034"/>
              <a:gd name="connsiteY2" fmla="*/ 2905705 h 6452672"/>
              <a:gd name="connsiteX3" fmla="*/ 3821351 w 6839034"/>
              <a:gd name="connsiteY3" fmla="*/ 6451392 h 6452672"/>
              <a:gd name="connsiteX4" fmla="*/ 2708 w 6839034"/>
              <a:gd name="connsiteY4" fmla="*/ 3274194 h 6452672"/>
              <a:gd name="connsiteX0" fmla="*/ 18274 w 6869945"/>
              <a:gd name="connsiteY0" fmla="*/ 3096893 h 6275354"/>
              <a:gd name="connsiteX1" fmla="*/ 2581324 w 6869945"/>
              <a:gd name="connsiteY1" fmla="*/ 1581 h 6275354"/>
              <a:gd name="connsiteX2" fmla="*/ 6850343 w 6869945"/>
              <a:gd name="connsiteY2" fmla="*/ 2728404 h 6275354"/>
              <a:gd name="connsiteX3" fmla="*/ 3836917 w 6869945"/>
              <a:gd name="connsiteY3" fmla="*/ 6274091 h 6275354"/>
              <a:gd name="connsiteX4" fmla="*/ 18274 w 6869945"/>
              <a:gd name="connsiteY4" fmla="*/ 3096893 h 6275354"/>
              <a:gd name="connsiteX0" fmla="*/ 36659 w 6888330"/>
              <a:gd name="connsiteY0" fmla="*/ 3095333 h 6273794"/>
              <a:gd name="connsiteX1" fmla="*/ 2599709 w 6888330"/>
              <a:gd name="connsiteY1" fmla="*/ 21 h 6273794"/>
              <a:gd name="connsiteX2" fmla="*/ 6868728 w 6888330"/>
              <a:gd name="connsiteY2" fmla="*/ 2726844 h 6273794"/>
              <a:gd name="connsiteX3" fmla="*/ 3855302 w 6888330"/>
              <a:gd name="connsiteY3" fmla="*/ 6272531 h 6273794"/>
              <a:gd name="connsiteX4" fmla="*/ 36659 w 6888330"/>
              <a:gd name="connsiteY4" fmla="*/ 3095333 h 6273794"/>
              <a:gd name="connsiteX0" fmla="*/ 36659 w 6875194"/>
              <a:gd name="connsiteY0" fmla="*/ 3095343 h 6273804"/>
              <a:gd name="connsiteX1" fmla="*/ 2599709 w 6875194"/>
              <a:gd name="connsiteY1" fmla="*/ 31 h 6273804"/>
              <a:gd name="connsiteX2" fmla="*/ 6868728 w 6875194"/>
              <a:gd name="connsiteY2" fmla="*/ 2726854 h 6273804"/>
              <a:gd name="connsiteX3" fmla="*/ 3855302 w 6875194"/>
              <a:gd name="connsiteY3" fmla="*/ 6272541 h 6273804"/>
              <a:gd name="connsiteX4" fmla="*/ 36659 w 6875194"/>
              <a:gd name="connsiteY4" fmla="*/ 3095343 h 6273804"/>
              <a:gd name="connsiteX0" fmla="*/ 36659 w 6878153"/>
              <a:gd name="connsiteY0" fmla="*/ 3095343 h 6272939"/>
              <a:gd name="connsiteX1" fmla="*/ 2599709 w 6878153"/>
              <a:gd name="connsiteY1" fmla="*/ 31 h 6272939"/>
              <a:gd name="connsiteX2" fmla="*/ 6868728 w 6878153"/>
              <a:gd name="connsiteY2" fmla="*/ 2726854 h 6272939"/>
              <a:gd name="connsiteX3" fmla="*/ 3855302 w 6878153"/>
              <a:gd name="connsiteY3" fmla="*/ 6272541 h 6272939"/>
              <a:gd name="connsiteX4" fmla="*/ 36659 w 6878153"/>
              <a:gd name="connsiteY4" fmla="*/ 3095343 h 6272939"/>
              <a:gd name="connsiteX0" fmla="*/ 22756 w 6864250"/>
              <a:gd name="connsiteY0" fmla="*/ 3095343 h 6273145"/>
              <a:gd name="connsiteX1" fmla="*/ 2585806 w 6864250"/>
              <a:gd name="connsiteY1" fmla="*/ 31 h 6273145"/>
              <a:gd name="connsiteX2" fmla="*/ 6854825 w 6864250"/>
              <a:gd name="connsiteY2" fmla="*/ 2726854 h 6273145"/>
              <a:gd name="connsiteX3" fmla="*/ 3841399 w 6864250"/>
              <a:gd name="connsiteY3" fmla="*/ 6272541 h 6273145"/>
              <a:gd name="connsiteX4" fmla="*/ 22756 w 6864250"/>
              <a:gd name="connsiteY4" fmla="*/ 3095343 h 6273145"/>
              <a:gd name="connsiteX0" fmla="*/ 39020 w 6880514"/>
              <a:gd name="connsiteY0" fmla="*/ 3125882 h 6303684"/>
              <a:gd name="connsiteX1" fmla="*/ 2602070 w 6880514"/>
              <a:gd name="connsiteY1" fmla="*/ 30570 h 6303684"/>
              <a:gd name="connsiteX2" fmla="*/ 6871089 w 6880514"/>
              <a:gd name="connsiteY2" fmla="*/ 2757393 h 6303684"/>
              <a:gd name="connsiteX3" fmla="*/ 3857663 w 6880514"/>
              <a:gd name="connsiteY3" fmla="*/ 6303080 h 6303684"/>
              <a:gd name="connsiteX4" fmla="*/ 39020 w 6880514"/>
              <a:gd name="connsiteY4" fmla="*/ 3125882 h 6303684"/>
              <a:gd name="connsiteX0" fmla="*/ 56031 w 6913611"/>
              <a:gd name="connsiteY0" fmla="*/ 3117444 h 6076712"/>
              <a:gd name="connsiteX1" fmla="*/ 2619081 w 6913611"/>
              <a:gd name="connsiteY1" fmla="*/ 22132 h 6076712"/>
              <a:gd name="connsiteX2" fmla="*/ 6888100 w 6913611"/>
              <a:gd name="connsiteY2" fmla="*/ 2748955 h 6076712"/>
              <a:gd name="connsiteX3" fmla="*/ 3847379 w 6913611"/>
              <a:gd name="connsiteY3" fmla="*/ 6076278 h 6076712"/>
              <a:gd name="connsiteX4" fmla="*/ 56031 w 6913611"/>
              <a:gd name="connsiteY4" fmla="*/ 3117444 h 6076712"/>
              <a:gd name="connsiteX0" fmla="*/ 56031 w 6922854"/>
              <a:gd name="connsiteY0" fmla="*/ 3117444 h 6122150"/>
              <a:gd name="connsiteX1" fmla="*/ 2619081 w 6922854"/>
              <a:gd name="connsiteY1" fmla="*/ 22132 h 6122150"/>
              <a:gd name="connsiteX2" fmla="*/ 6888100 w 6922854"/>
              <a:gd name="connsiteY2" fmla="*/ 2748955 h 6122150"/>
              <a:gd name="connsiteX3" fmla="*/ 3847379 w 6922854"/>
              <a:gd name="connsiteY3" fmla="*/ 6076278 h 6122150"/>
              <a:gd name="connsiteX4" fmla="*/ 56031 w 6922854"/>
              <a:gd name="connsiteY4" fmla="*/ 3117444 h 6122150"/>
              <a:gd name="connsiteX0" fmla="*/ 56031 w 6893804"/>
              <a:gd name="connsiteY0" fmla="*/ 3119673 h 6124379"/>
              <a:gd name="connsiteX1" fmla="*/ 2619081 w 6893804"/>
              <a:gd name="connsiteY1" fmla="*/ 24361 h 6124379"/>
              <a:gd name="connsiteX2" fmla="*/ 6888100 w 6893804"/>
              <a:gd name="connsiteY2" fmla="*/ 2751184 h 6124379"/>
              <a:gd name="connsiteX3" fmla="*/ 3847379 w 6893804"/>
              <a:gd name="connsiteY3" fmla="*/ 6078507 h 6124379"/>
              <a:gd name="connsiteX4" fmla="*/ 56031 w 6893804"/>
              <a:gd name="connsiteY4" fmla="*/ 3119673 h 612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804" h="6124379">
                <a:moveTo>
                  <a:pt x="56031" y="3119673"/>
                </a:moveTo>
                <a:cubicBezTo>
                  <a:pt x="-148685" y="2110649"/>
                  <a:pt x="101979" y="276845"/>
                  <a:pt x="2619081" y="24361"/>
                </a:cubicBezTo>
                <a:cubicBezTo>
                  <a:pt x="5136183" y="-228123"/>
                  <a:pt x="7010930" y="1537444"/>
                  <a:pt x="6888100" y="2751184"/>
                </a:cubicBezTo>
                <a:cubicBezTo>
                  <a:pt x="6765270" y="3964924"/>
                  <a:pt x="6432719" y="5675897"/>
                  <a:pt x="3847379" y="6078507"/>
                </a:cubicBezTo>
                <a:cubicBezTo>
                  <a:pt x="1262039" y="6481117"/>
                  <a:pt x="260747" y="4128697"/>
                  <a:pt x="56031" y="3119673"/>
                </a:cubicBezTo>
                <a:close/>
              </a:path>
            </a:pathLst>
          </a:custGeom>
          <a:solidFill>
            <a:schemeClr val="bg2"/>
          </a:solidFill>
          <a:ln>
            <a:noFill/>
          </a:ln>
          <a:effectLst>
            <a:outerShdw blurRad="1905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3">
            <a:extLst>
              <a:ext uri="{FF2B5EF4-FFF2-40B4-BE49-F238E27FC236}">
                <a16:creationId xmlns:a16="http://schemas.microsoft.com/office/drawing/2014/main" id="{F03DA388-4DC4-8E44-B2DE-B396FAC127DE}"/>
              </a:ext>
            </a:extLst>
          </p:cNvPr>
          <p:cNvSpPr txBox="1">
            <a:spLocks/>
          </p:cNvSpPr>
          <p:nvPr userDrawn="1"/>
        </p:nvSpPr>
        <p:spPr>
          <a:xfrm>
            <a:off x="3594499" y="1700297"/>
            <a:ext cx="5003002" cy="680224"/>
          </a:xfrm>
          <a:prstGeom prst="rect">
            <a:avLst/>
          </a:prstGeom>
        </p:spPr>
        <p:txBody>
          <a:bodyPr anchor="ctr">
            <a:noAutofit/>
          </a:bodyPr>
          <a:lstStyle>
            <a:lvl1pPr algn="l" defTabSz="914400" rtl="0" eaLnBrk="1" latinLnBrk="0" hangingPunct="1">
              <a:lnSpc>
                <a:spcPct val="100000"/>
              </a:lnSpc>
              <a:spcBef>
                <a:spcPts val="0"/>
              </a:spcBef>
              <a:spcAft>
                <a:spcPts val="600"/>
              </a:spcAft>
              <a:buNone/>
              <a:defRPr sz="4000" b="1" kern="1200">
                <a:solidFill>
                  <a:schemeClr val="bg1"/>
                </a:solidFill>
                <a:latin typeface="Myriad Pro" panose="020B0503030403020204" pitchFamily="34" charset="0"/>
                <a:ea typeface="+mj-ea"/>
                <a:cs typeface="+mj-cs"/>
              </a:defRPr>
            </a:lvl1pPr>
          </a:lstStyle>
          <a:p>
            <a:pPr algn="ctr"/>
            <a:r>
              <a:rPr lang="en-US" sz="3600" b="0" spc="600" dirty="0">
                <a:solidFill>
                  <a:schemeClr val="tx2">
                    <a:lumMod val="75000"/>
                  </a:schemeClr>
                </a:solidFill>
              </a:rPr>
              <a:t>OUR PURPOSE</a:t>
            </a:r>
          </a:p>
        </p:txBody>
      </p:sp>
      <p:pic>
        <p:nvPicPr>
          <p:cNvPr id="4" name="Picture 3">
            <a:extLst>
              <a:ext uri="{FF2B5EF4-FFF2-40B4-BE49-F238E27FC236}">
                <a16:creationId xmlns:a16="http://schemas.microsoft.com/office/drawing/2014/main" id="{38CBF773-E571-E446-83EE-8DFC5FA4F2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51199"/>
            <a:ext cx="12192000" cy="6606801"/>
          </a:xfrm>
          <a:prstGeom prst="rect">
            <a:avLst/>
          </a:prstGeom>
        </p:spPr>
      </p:pic>
    </p:spTree>
    <p:extLst>
      <p:ext uri="{BB962C8B-B14F-4D97-AF65-F5344CB8AC3E}">
        <p14:creationId xmlns:p14="http://schemas.microsoft.com/office/powerpoint/2010/main" val="14096225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4ED0A5F9-853F-3E4B-9EF7-E07004BB6A2C}"/>
              </a:ext>
            </a:extLst>
          </p:cNvPr>
          <p:cNvSpPr/>
          <p:nvPr userDrawn="1"/>
        </p:nvSpPr>
        <p:spPr>
          <a:xfrm rot="5400000">
            <a:off x="6759525" y="-120949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35272 w 4222981"/>
              <a:gd name="connsiteY4" fmla="*/ 1694280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889945 w 4222981"/>
              <a:gd name="connsiteY4" fmla="*/ 1928456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627162" y="461320"/>
                  <a:pt x="889945" y="1928456"/>
                </a:cubicBezTo>
                <a:cubicBezTo>
                  <a:pt x="152728" y="3395592"/>
                  <a:pt x="3358" y="6636279"/>
                  <a:pt x="0" y="6641969"/>
                </a:cubicBez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7">
            <a:extLst>
              <a:ext uri="{FF2B5EF4-FFF2-40B4-BE49-F238E27FC236}">
                <a16:creationId xmlns:a16="http://schemas.microsoft.com/office/drawing/2014/main" id="{F45FEB03-27F1-834E-BE9C-CBF7B5CDEA11}"/>
              </a:ext>
            </a:extLst>
          </p:cNvPr>
          <p:cNvSpPr/>
          <p:nvPr userDrawn="1"/>
        </p:nvSpPr>
        <p:spPr>
          <a:xfrm rot="16200000">
            <a:off x="1209493" y="142552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090668 w 4222981"/>
              <a:gd name="connsiteY4" fmla="*/ 1895002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995154" y="327505"/>
                  <a:pt x="1090668" y="1895002"/>
                </a:cubicBezTo>
                <a:cubicBezTo>
                  <a:pt x="186182" y="3462499"/>
                  <a:pt x="3358" y="6636279"/>
                  <a:pt x="0" y="6641969"/>
                </a:cubicBez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4" name="Group 3">
            <a:extLst>
              <a:ext uri="{FF2B5EF4-FFF2-40B4-BE49-F238E27FC236}">
                <a16:creationId xmlns:a16="http://schemas.microsoft.com/office/drawing/2014/main" id="{8D6F1D8C-0B31-1F4F-A7D1-64092A2690FE}"/>
              </a:ext>
            </a:extLst>
          </p:cNvPr>
          <p:cNvGrpSpPr/>
          <p:nvPr userDrawn="1"/>
        </p:nvGrpSpPr>
        <p:grpSpPr>
          <a:xfrm>
            <a:off x="5227320" y="187646"/>
            <a:ext cx="1737361" cy="6482709"/>
            <a:chOff x="5227320" y="375291"/>
            <a:chExt cx="1737361" cy="6482709"/>
          </a:xfrm>
          <a:solidFill>
            <a:schemeClr val="tx2">
              <a:lumMod val="75000"/>
            </a:schemeClr>
          </a:solidFill>
        </p:grpSpPr>
        <p:pic>
          <p:nvPicPr>
            <p:cNvPr id="5" name="Graphic 4" descr="Open quotation mark outline">
              <a:extLst>
                <a:ext uri="{FF2B5EF4-FFF2-40B4-BE49-F238E27FC236}">
                  <a16:creationId xmlns:a16="http://schemas.microsoft.com/office/drawing/2014/main" id="{94EA5BD1-2DE9-3743-85B7-D4CAEAFCCD5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27320" y="375291"/>
              <a:ext cx="1737360" cy="1737360"/>
            </a:xfrm>
            <a:prstGeom prst="rect">
              <a:avLst/>
            </a:prstGeom>
          </p:spPr>
        </p:pic>
        <p:pic>
          <p:nvPicPr>
            <p:cNvPr id="6" name="Graphic 5" descr="Open quotation mark outline">
              <a:extLst>
                <a:ext uri="{FF2B5EF4-FFF2-40B4-BE49-F238E27FC236}">
                  <a16:creationId xmlns:a16="http://schemas.microsoft.com/office/drawing/2014/main" id="{11C26C6E-0863-BD40-A6E0-BECFC8852A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227321" y="5120640"/>
              <a:ext cx="1737360" cy="1737360"/>
            </a:xfrm>
            <a:prstGeom prst="rect">
              <a:avLst/>
            </a:prstGeom>
          </p:spPr>
        </p:pic>
      </p:grpSp>
      <p:pic>
        <p:nvPicPr>
          <p:cNvPr id="9" name="Picture 8">
            <a:extLst>
              <a:ext uri="{FF2B5EF4-FFF2-40B4-BE49-F238E27FC236}">
                <a16:creationId xmlns:a16="http://schemas.microsoft.com/office/drawing/2014/main" id="{D29BAD2A-89B2-FC4D-9419-155D659753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3" name="Text Placeholder 12">
            <a:extLst>
              <a:ext uri="{FF2B5EF4-FFF2-40B4-BE49-F238E27FC236}">
                <a16:creationId xmlns:a16="http://schemas.microsoft.com/office/drawing/2014/main" id="{A46F646E-B23E-2F48-A6FD-ED485FC26364}"/>
              </a:ext>
            </a:extLst>
          </p:cNvPr>
          <p:cNvSpPr>
            <a:spLocks noGrp="1"/>
          </p:cNvSpPr>
          <p:nvPr userDrawn="1">
            <p:ph type="body" sz="quarter" idx="11" hasCustomPrompt="1"/>
          </p:nvPr>
        </p:nvSpPr>
        <p:spPr>
          <a:xfrm>
            <a:off x="1362004" y="1907756"/>
            <a:ext cx="9467993" cy="3042489"/>
          </a:xfrm>
        </p:spPr>
        <p:txBody>
          <a:bodyPr anchor="ctr">
            <a:normAutofit/>
          </a:bodyPr>
          <a:lstStyle>
            <a:lvl1pPr algn="ctr">
              <a:lnSpc>
                <a:spcPct val="150000"/>
              </a:lnSpc>
              <a:defRPr sz="2800" b="1" i="1">
                <a:solidFill>
                  <a:schemeClr val="bg1"/>
                </a:solidFill>
              </a:defRPr>
            </a:lvl1pPr>
          </a:lstStyle>
          <a:p>
            <a:pPr lvl="0"/>
            <a:r>
              <a:rPr lang="en-US"/>
              <a:t>QUOTE</a:t>
            </a:r>
          </a:p>
        </p:txBody>
      </p:sp>
      <p:sp>
        <p:nvSpPr>
          <p:cNvPr id="14" name="Slide Number Placeholder 8">
            <a:extLst>
              <a:ext uri="{FF2B5EF4-FFF2-40B4-BE49-F238E27FC236}">
                <a16:creationId xmlns:a16="http://schemas.microsoft.com/office/drawing/2014/main" id="{84187601-B5D1-0245-9151-CA3FD8D6A712}"/>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7877498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Content">
    <p:bg>
      <p:bgPr>
        <a:solidFill>
          <a:schemeClr val="tx2"/>
        </a:solidFill>
        <a:effectLst/>
      </p:bgPr>
    </p:bg>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ED9EBE19-53A1-6748-B959-2B7E5881145A}"/>
              </a:ext>
            </a:extLst>
          </p:cNvPr>
          <p:cNvSpPr/>
          <p:nvPr userDrawn="1"/>
        </p:nvSpPr>
        <p:spPr>
          <a:xfrm flipV="1">
            <a:off x="0" y="0"/>
            <a:ext cx="6183630" cy="6858000"/>
          </a:xfrm>
          <a:custGeom>
            <a:avLst/>
            <a:gdLst>
              <a:gd name="connsiteX0" fmla="*/ 0 w 5780868"/>
              <a:gd name="connsiteY0" fmla="*/ 0 h 6858000"/>
              <a:gd name="connsiteX1" fmla="*/ 5780868 w 5780868"/>
              <a:gd name="connsiteY1" fmla="*/ 0 h 6858000"/>
              <a:gd name="connsiteX2" fmla="*/ 5780868 w 5780868"/>
              <a:gd name="connsiteY2" fmla="*/ 6858000 h 6858000"/>
              <a:gd name="connsiteX3" fmla="*/ 0 w 5780868"/>
              <a:gd name="connsiteY3" fmla="*/ 6858000 h 6858000"/>
              <a:gd name="connsiteX4" fmla="*/ 0 w 5780868"/>
              <a:gd name="connsiteY4" fmla="*/ 0 h 6858000"/>
              <a:gd name="connsiteX0" fmla="*/ 0 w 6369238"/>
              <a:gd name="connsiteY0" fmla="*/ 0 h 6858000"/>
              <a:gd name="connsiteX1" fmla="*/ 5780868 w 6369238"/>
              <a:gd name="connsiteY1" fmla="*/ 0 h 6858000"/>
              <a:gd name="connsiteX2" fmla="*/ 5780868 w 6369238"/>
              <a:gd name="connsiteY2" fmla="*/ 6858000 h 6858000"/>
              <a:gd name="connsiteX3" fmla="*/ 0 w 6369238"/>
              <a:gd name="connsiteY3" fmla="*/ 6858000 h 6858000"/>
              <a:gd name="connsiteX4" fmla="*/ 0 w 6369238"/>
              <a:gd name="connsiteY4" fmla="*/ 0 h 6858000"/>
              <a:gd name="connsiteX0" fmla="*/ 0 w 6254332"/>
              <a:gd name="connsiteY0" fmla="*/ 0 h 6858000"/>
              <a:gd name="connsiteX1" fmla="*/ 5780868 w 6254332"/>
              <a:gd name="connsiteY1" fmla="*/ 0 h 6858000"/>
              <a:gd name="connsiteX2" fmla="*/ 5780868 w 6254332"/>
              <a:gd name="connsiteY2" fmla="*/ 6858000 h 6858000"/>
              <a:gd name="connsiteX3" fmla="*/ 0 w 6254332"/>
              <a:gd name="connsiteY3" fmla="*/ 6858000 h 6858000"/>
              <a:gd name="connsiteX4" fmla="*/ 0 w 6254332"/>
              <a:gd name="connsiteY4" fmla="*/ 0 h 6858000"/>
              <a:gd name="connsiteX0" fmla="*/ 0 w 6047275"/>
              <a:gd name="connsiteY0" fmla="*/ 0 h 6858000"/>
              <a:gd name="connsiteX1" fmla="*/ 5780868 w 6047275"/>
              <a:gd name="connsiteY1" fmla="*/ 0 h 6858000"/>
              <a:gd name="connsiteX2" fmla="*/ 5780868 w 6047275"/>
              <a:gd name="connsiteY2" fmla="*/ 6858000 h 6858000"/>
              <a:gd name="connsiteX3" fmla="*/ 0 w 6047275"/>
              <a:gd name="connsiteY3" fmla="*/ 6858000 h 6858000"/>
              <a:gd name="connsiteX4" fmla="*/ 0 w 6047275"/>
              <a:gd name="connsiteY4" fmla="*/ 0 h 6858000"/>
              <a:gd name="connsiteX0" fmla="*/ 0 w 6224191"/>
              <a:gd name="connsiteY0" fmla="*/ 0 h 6858000"/>
              <a:gd name="connsiteX1" fmla="*/ 5780868 w 6224191"/>
              <a:gd name="connsiteY1" fmla="*/ 0 h 6858000"/>
              <a:gd name="connsiteX2" fmla="*/ 5780868 w 6224191"/>
              <a:gd name="connsiteY2" fmla="*/ 6858000 h 6858000"/>
              <a:gd name="connsiteX3" fmla="*/ 0 w 6224191"/>
              <a:gd name="connsiteY3" fmla="*/ 6858000 h 6858000"/>
              <a:gd name="connsiteX4" fmla="*/ 0 w 622419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191" h="6858000">
                <a:moveTo>
                  <a:pt x="0" y="0"/>
                </a:moveTo>
                <a:lnTo>
                  <a:pt x="5780868" y="0"/>
                </a:lnTo>
                <a:cubicBezTo>
                  <a:pt x="7034476" y="2062671"/>
                  <a:pt x="5166718" y="4476466"/>
                  <a:pt x="5780868" y="6858000"/>
                </a:cubicBezTo>
                <a:lnTo>
                  <a:pt x="0" y="6858000"/>
                </a:lnTo>
                <a:lnTo>
                  <a:pt x="0" y="0"/>
                </a:lnTo>
                <a:close/>
              </a:path>
            </a:pathLst>
          </a:custGeom>
          <a:solidFill>
            <a:schemeClr val="bg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latin typeface="Myriad Pro" panose="020B0503030403020204" pitchFamily="34" charset="0"/>
            </a:endParaRPr>
          </a:p>
        </p:txBody>
      </p:sp>
      <p:sp>
        <p:nvSpPr>
          <p:cNvPr id="2" name="Title 1">
            <a:extLst>
              <a:ext uri="{FF2B5EF4-FFF2-40B4-BE49-F238E27FC236}">
                <a16:creationId xmlns:a16="http://schemas.microsoft.com/office/drawing/2014/main" id="{AC2E8B19-CB5B-C74E-9371-8079759EE9C9}"/>
              </a:ext>
            </a:extLst>
          </p:cNvPr>
          <p:cNvSpPr>
            <a:spLocks noGrp="1"/>
          </p:cNvSpPr>
          <p:nvPr>
            <p:ph type="title" hasCustomPrompt="1"/>
          </p:nvPr>
        </p:nvSpPr>
        <p:spPr>
          <a:xfrm>
            <a:off x="335971" y="253111"/>
            <a:ext cx="9912929" cy="807063"/>
          </a:xfrm>
        </p:spPr>
        <p:txBody>
          <a:bodyPr anchor="t"/>
          <a:lstStyle>
            <a:lvl1pPr>
              <a:spcAft>
                <a:spcPts val="600"/>
              </a:spcAft>
              <a:defRPr>
                <a:solidFill>
                  <a:schemeClr val="accent4"/>
                </a:solidFill>
              </a:defRPr>
            </a:lvl1pPr>
          </a:lstStyle>
          <a:p>
            <a:r>
              <a:rPr lang="en-US"/>
              <a:t>HEADLINE</a:t>
            </a:r>
          </a:p>
        </p:txBody>
      </p:sp>
      <p:sp>
        <p:nvSpPr>
          <p:cNvPr id="33" name="Text Placeholder 32">
            <a:extLst>
              <a:ext uri="{FF2B5EF4-FFF2-40B4-BE49-F238E27FC236}">
                <a16:creationId xmlns:a16="http://schemas.microsoft.com/office/drawing/2014/main" id="{D5DF20A0-1CDA-FD4B-A4F7-F41929E599D8}"/>
              </a:ext>
            </a:extLst>
          </p:cNvPr>
          <p:cNvSpPr>
            <a:spLocks noGrp="1"/>
          </p:cNvSpPr>
          <p:nvPr>
            <p:ph type="body" sz="quarter" idx="11" hasCustomPrompt="1"/>
          </p:nvPr>
        </p:nvSpPr>
        <p:spPr>
          <a:xfrm>
            <a:off x="335971" y="1114227"/>
            <a:ext cx="5453457" cy="538993"/>
          </a:xfrm>
        </p:spPr>
        <p:txBody>
          <a:bodyPr anchor="t">
            <a:normAutofit/>
          </a:bodyPr>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34" name="Text Placeholder 32">
            <a:extLst>
              <a:ext uri="{FF2B5EF4-FFF2-40B4-BE49-F238E27FC236}">
                <a16:creationId xmlns:a16="http://schemas.microsoft.com/office/drawing/2014/main" id="{E6115007-1A8D-FF46-AA26-55DAC750C195}"/>
              </a:ext>
            </a:extLst>
          </p:cNvPr>
          <p:cNvSpPr>
            <a:spLocks noGrp="1"/>
          </p:cNvSpPr>
          <p:nvPr>
            <p:ph type="body" sz="quarter" idx="12" hasCustomPrompt="1"/>
          </p:nvPr>
        </p:nvSpPr>
        <p:spPr>
          <a:xfrm>
            <a:off x="348850" y="1707273"/>
            <a:ext cx="545345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35" name="Text Placeholder 32">
            <a:extLst>
              <a:ext uri="{FF2B5EF4-FFF2-40B4-BE49-F238E27FC236}">
                <a16:creationId xmlns:a16="http://schemas.microsoft.com/office/drawing/2014/main" id="{FB9C1BDF-19DC-0E4B-9F3A-F13C5A20ADB4}"/>
              </a:ext>
            </a:extLst>
          </p:cNvPr>
          <p:cNvSpPr>
            <a:spLocks noGrp="1"/>
          </p:cNvSpPr>
          <p:nvPr>
            <p:ph type="body" sz="quarter" idx="13" hasCustomPrompt="1"/>
          </p:nvPr>
        </p:nvSpPr>
        <p:spPr>
          <a:xfrm>
            <a:off x="348850" y="2146607"/>
            <a:ext cx="5440578"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0" name="Text Placeholder 32">
            <a:extLst>
              <a:ext uri="{FF2B5EF4-FFF2-40B4-BE49-F238E27FC236}">
                <a16:creationId xmlns:a16="http://schemas.microsoft.com/office/drawing/2014/main" id="{FC911E9A-5550-334D-B555-07EAB555B63D}"/>
              </a:ext>
            </a:extLst>
          </p:cNvPr>
          <p:cNvSpPr>
            <a:spLocks noGrp="1"/>
          </p:cNvSpPr>
          <p:nvPr>
            <p:ph type="body" sz="quarter" idx="14" hasCustomPrompt="1"/>
          </p:nvPr>
        </p:nvSpPr>
        <p:spPr>
          <a:xfrm>
            <a:off x="348850" y="3995772"/>
            <a:ext cx="5369370"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1" name="Text Placeholder 32">
            <a:extLst>
              <a:ext uri="{FF2B5EF4-FFF2-40B4-BE49-F238E27FC236}">
                <a16:creationId xmlns:a16="http://schemas.microsoft.com/office/drawing/2014/main" id="{54A11813-EA7F-0541-B566-92731CB77984}"/>
              </a:ext>
            </a:extLst>
          </p:cNvPr>
          <p:cNvSpPr>
            <a:spLocks noGrp="1"/>
          </p:cNvSpPr>
          <p:nvPr>
            <p:ph type="body" sz="quarter" idx="15" hasCustomPrompt="1"/>
          </p:nvPr>
        </p:nvSpPr>
        <p:spPr>
          <a:xfrm>
            <a:off x="348850" y="4435106"/>
            <a:ext cx="5369370"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3" name="Text Placeholder 32">
            <a:extLst>
              <a:ext uri="{FF2B5EF4-FFF2-40B4-BE49-F238E27FC236}">
                <a16:creationId xmlns:a16="http://schemas.microsoft.com/office/drawing/2014/main" id="{8DA707EC-782B-E841-A0D8-4C5522457EBB}"/>
              </a:ext>
            </a:extLst>
          </p:cNvPr>
          <p:cNvSpPr>
            <a:spLocks noGrp="1"/>
          </p:cNvSpPr>
          <p:nvPr>
            <p:ph type="body" sz="quarter" idx="17" hasCustomPrompt="1"/>
          </p:nvPr>
        </p:nvSpPr>
        <p:spPr>
          <a:xfrm>
            <a:off x="6618374" y="1707273"/>
            <a:ext cx="525880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4" name="Text Placeholder 32">
            <a:extLst>
              <a:ext uri="{FF2B5EF4-FFF2-40B4-BE49-F238E27FC236}">
                <a16:creationId xmlns:a16="http://schemas.microsoft.com/office/drawing/2014/main" id="{6830F74B-D6DF-E248-9601-84DCD519BB07}"/>
              </a:ext>
            </a:extLst>
          </p:cNvPr>
          <p:cNvSpPr>
            <a:spLocks noGrp="1"/>
          </p:cNvSpPr>
          <p:nvPr>
            <p:ph type="body" sz="quarter" idx="18" hasCustomPrompt="1"/>
          </p:nvPr>
        </p:nvSpPr>
        <p:spPr>
          <a:xfrm>
            <a:off x="6618373" y="2146607"/>
            <a:ext cx="5245927"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45" name="Text Placeholder 32">
            <a:extLst>
              <a:ext uri="{FF2B5EF4-FFF2-40B4-BE49-F238E27FC236}">
                <a16:creationId xmlns:a16="http://schemas.microsoft.com/office/drawing/2014/main" id="{61C9031A-F8B4-7C42-9F14-14886E3BBE01}"/>
              </a:ext>
            </a:extLst>
          </p:cNvPr>
          <p:cNvSpPr>
            <a:spLocks noGrp="1"/>
          </p:cNvSpPr>
          <p:nvPr>
            <p:ph type="body" sz="quarter" idx="16" hasCustomPrompt="1"/>
          </p:nvPr>
        </p:nvSpPr>
        <p:spPr>
          <a:xfrm>
            <a:off x="6605495" y="1114227"/>
            <a:ext cx="5258806" cy="538993"/>
          </a:xfrm>
        </p:spPr>
        <p:txBody>
          <a:bodyPr anchor="t">
            <a:normAutofit/>
          </a:bodyPr>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46" name="Text Placeholder 32">
            <a:extLst>
              <a:ext uri="{FF2B5EF4-FFF2-40B4-BE49-F238E27FC236}">
                <a16:creationId xmlns:a16="http://schemas.microsoft.com/office/drawing/2014/main" id="{A98405FA-6853-B842-B9DE-AEB4F7AC1477}"/>
              </a:ext>
            </a:extLst>
          </p:cNvPr>
          <p:cNvSpPr>
            <a:spLocks noGrp="1"/>
          </p:cNvSpPr>
          <p:nvPr>
            <p:ph type="body" sz="quarter" idx="19" hasCustomPrompt="1"/>
          </p:nvPr>
        </p:nvSpPr>
        <p:spPr>
          <a:xfrm>
            <a:off x="6618374" y="3995772"/>
            <a:ext cx="5258806" cy="413576"/>
          </a:xfrm>
        </p:spPr>
        <p:txBody>
          <a:bodyPr anchor="t">
            <a:normAutofit/>
          </a:bodyPr>
          <a:lstStyle>
            <a:lvl1pPr>
              <a:lnSpc>
                <a:spcPct val="10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47" name="Text Placeholder 32">
            <a:extLst>
              <a:ext uri="{FF2B5EF4-FFF2-40B4-BE49-F238E27FC236}">
                <a16:creationId xmlns:a16="http://schemas.microsoft.com/office/drawing/2014/main" id="{A8870227-E86F-6044-B99E-9537DEF43B35}"/>
              </a:ext>
            </a:extLst>
          </p:cNvPr>
          <p:cNvSpPr>
            <a:spLocks noGrp="1"/>
          </p:cNvSpPr>
          <p:nvPr>
            <p:ph type="body" sz="quarter" idx="20" hasCustomPrompt="1"/>
          </p:nvPr>
        </p:nvSpPr>
        <p:spPr>
          <a:xfrm>
            <a:off x="6618373" y="4435106"/>
            <a:ext cx="5245927" cy="1384995"/>
          </a:xfrm>
        </p:spPr>
        <p:txBody>
          <a:bodyPr anchor="t">
            <a:normAutofit/>
          </a:bodyPr>
          <a:lstStyle>
            <a:lvl1pPr>
              <a:lnSpc>
                <a:spcPct val="100000"/>
              </a:lnSpc>
              <a:spcBef>
                <a:spcPts val="0"/>
              </a:spcBef>
              <a:spcAft>
                <a:spcPts val="600"/>
              </a:spcAft>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15" name="Slide Number Placeholder 8">
            <a:extLst>
              <a:ext uri="{FF2B5EF4-FFF2-40B4-BE49-F238E27FC236}">
                <a16:creationId xmlns:a16="http://schemas.microsoft.com/office/drawing/2014/main" id="{F2774B60-F02D-6642-B61B-CA31D6735D51}"/>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576905366"/>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wo Column Content">
    <p:bg>
      <p:bgPr>
        <a:solidFill>
          <a:schemeClr val="tx2"/>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6A115BC4-AC45-9648-896B-69AB5021007C}"/>
              </a:ext>
            </a:extLst>
          </p:cNvPr>
          <p:cNvSpPr/>
          <p:nvPr userDrawn="1"/>
        </p:nvSpPr>
        <p:spPr>
          <a:xfrm rot="5400000">
            <a:off x="6753682" y="-1215337"/>
            <a:ext cx="4222981" cy="6653655"/>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3655">
                <a:moveTo>
                  <a:pt x="0" y="6641969"/>
                </a:moveTo>
                <a:lnTo>
                  <a:pt x="0" y="0"/>
                </a:lnTo>
                <a:lnTo>
                  <a:pt x="4222981" y="0"/>
                </a:lnTo>
                <a:lnTo>
                  <a:pt x="4222587" y="2489"/>
                </a:lnTo>
                <a:cubicBezTo>
                  <a:pt x="4111473" y="121505"/>
                  <a:pt x="1505636" y="642868"/>
                  <a:pt x="1157575" y="2441411"/>
                </a:cubicBezTo>
                <a:cubicBezTo>
                  <a:pt x="770840" y="4439792"/>
                  <a:pt x="327713" y="6695074"/>
                  <a:pt x="27461" y="6653078"/>
                </a:cubicBezTo>
                <a:lnTo>
                  <a:pt x="0" y="6641969"/>
                </a:ln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6" name="Picture 25">
            <a:extLst>
              <a:ext uri="{FF2B5EF4-FFF2-40B4-BE49-F238E27FC236}">
                <a16:creationId xmlns:a16="http://schemas.microsoft.com/office/drawing/2014/main" id="{5F14FC62-348C-4C4B-879C-4F77A1B364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36" name="Freeform 35">
            <a:extLst>
              <a:ext uri="{FF2B5EF4-FFF2-40B4-BE49-F238E27FC236}">
                <a16:creationId xmlns:a16="http://schemas.microsoft.com/office/drawing/2014/main" id="{EC4D1B96-3D10-104A-B3DA-B3CBFCE6BE7A}"/>
              </a:ext>
            </a:extLst>
          </p:cNvPr>
          <p:cNvSpPr/>
          <p:nvPr userDrawn="1"/>
        </p:nvSpPr>
        <p:spPr>
          <a:xfrm rot="16200000">
            <a:off x="1670795" y="3027327"/>
            <a:ext cx="2159876" cy="5501467"/>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472886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736"/>
              <a:gd name="connsiteX1" fmla="*/ 0 w 4222981"/>
              <a:gd name="connsiteY1" fmla="*/ 0 h 6653736"/>
              <a:gd name="connsiteX2" fmla="*/ 4222981 w 4222981"/>
              <a:gd name="connsiteY2" fmla="*/ 0 h 6653736"/>
              <a:gd name="connsiteX3" fmla="*/ 4222587 w 4222981"/>
              <a:gd name="connsiteY3" fmla="*/ 2489 h 6653736"/>
              <a:gd name="connsiteX4" fmla="*/ 1472886 w 4222981"/>
              <a:gd name="connsiteY4" fmla="*/ 2441411 h 6653736"/>
              <a:gd name="connsiteX5" fmla="*/ 27461 w 4222981"/>
              <a:gd name="connsiteY5" fmla="*/ 6653078 h 6653736"/>
              <a:gd name="connsiteX6" fmla="*/ 0 w 4222981"/>
              <a:gd name="connsiteY6" fmla="*/ 6641969 h 6653736"/>
              <a:gd name="connsiteX0" fmla="*/ 0 w 4222981"/>
              <a:gd name="connsiteY0" fmla="*/ 6641969 h 6653752"/>
              <a:gd name="connsiteX1" fmla="*/ 0 w 4222981"/>
              <a:gd name="connsiteY1" fmla="*/ 0 h 6653752"/>
              <a:gd name="connsiteX2" fmla="*/ 4222981 w 4222981"/>
              <a:gd name="connsiteY2" fmla="*/ 0 h 6653752"/>
              <a:gd name="connsiteX3" fmla="*/ 4222587 w 4222981"/>
              <a:gd name="connsiteY3" fmla="*/ 2489 h 6653752"/>
              <a:gd name="connsiteX4" fmla="*/ 731907 w 4222981"/>
              <a:gd name="connsiteY4" fmla="*/ 2488711 h 6653752"/>
              <a:gd name="connsiteX5" fmla="*/ 27461 w 4222981"/>
              <a:gd name="connsiteY5" fmla="*/ 6653078 h 6653752"/>
              <a:gd name="connsiteX6" fmla="*/ 0 w 4222981"/>
              <a:gd name="connsiteY6" fmla="*/ 6641969 h 6653752"/>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764"/>
              <a:gd name="connsiteX1" fmla="*/ 0 w 4222981"/>
              <a:gd name="connsiteY1" fmla="*/ 0 h 6653764"/>
              <a:gd name="connsiteX2" fmla="*/ 4222981 w 4222981"/>
              <a:gd name="connsiteY2" fmla="*/ 0 h 6653764"/>
              <a:gd name="connsiteX3" fmla="*/ 4222587 w 4222981"/>
              <a:gd name="connsiteY3" fmla="*/ 2489 h 6653764"/>
              <a:gd name="connsiteX4" fmla="*/ 1851255 w 4222981"/>
              <a:gd name="connsiteY4" fmla="*/ 2819790 h 6653764"/>
              <a:gd name="connsiteX5" fmla="*/ 27461 w 4222981"/>
              <a:gd name="connsiteY5" fmla="*/ 6653078 h 6653764"/>
              <a:gd name="connsiteX6" fmla="*/ 0 w 4222981"/>
              <a:gd name="connsiteY6" fmla="*/ 6641969 h 6653764"/>
              <a:gd name="connsiteX0" fmla="*/ 0 w 4299406"/>
              <a:gd name="connsiteY0" fmla="*/ 6641969 h 6656543"/>
              <a:gd name="connsiteX1" fmla="*/ 0 w 4299406"/>
              <a:gd name="connsiteY1" fmla="*/ 0 h 6656543"/>
              <a:gd name="connsiteX2" fmla="*/ 4222981 w 4299406"/>
              <a:gd name="connsiteY2" fmla="*/ 0 h 6656543"/>
              <a:gd name="connsiteX3" fmla="*/ 4222587 w 4299406"/>
              <a:gd name="connsiteY3" fmla="*/ 2489 h 6656543"/>
              <a:gd name="connsiteX4" fmla="*/ 3569697 w 4299406"/>
              <a:gd name="connsiteY4" fmla="*/ 4396345 h 6656543"/>
              <a:gd name="connsiteX5" fmla="*/ 27461 w 4299406"/>
              <a:gd name="connsiteY5" fmla="*/ 6653078 h 6656543"/>
              <a:gd name="connsiteX6" fmla="*/ 0 w 4299406"/>
              <a:gd name="connsiteY6" fmla="*/ 6641969 h 6656543"/>
              <a:gd name="connsiteX0" fmla="*/ 0 w 4657712"/>
              <a:gd name="connsiteY0" fmla="*/ 6641969 h 6654473"/>
              <a:gd name="connsiteX1" fmla="*/ 0 w 4657712"/>
              <a:gd name="connsiteY1" fmla="*/ 0 h 6654473"/>
              <a:gd name="connsiteX2" fmla="*/ 4222981 w 4657712"/>
              <a:gd name="connsiteY2" fmla="*/ 0 h 6654473"/>
              <a:gd name="connsiteX3" fmla="*/ 4222587 w 4657712"/>
              <a:gd name="connsiteY3" fmla="*/ 2489 h 6654473"/>
              <a:gd name="connsiteX4" fmla="*/ 3569697 w 4657712"/>
              <a:gd name="connsiteY4" fmla="*/ 4396345 h 6654473"/>
              <a:gd name="connsiteX5" fmla="*/ 27461 w 4657712"/>
              <a:gd name="connsiteY5" fmla="*/ 6653078 h 6654473"/>
              <a:gd name="connsiteX6" fmla="*/ 0 w 4657712"/>
              <a:gd name="connsiteY6" fmla="*/ 6641969 h 6654473"/>
              <a:gd name="connsiteX0" fmla="*/ 0 w 4222981"/>
              <a:gd name="connsiteY0" fmla="*/ 6641969 h 6698646"/>
              <a:gd name="connsiteX1" fmla="*/ 0 w 4222981"/>
              <a:gd name="connsiteY1" fmla="*/ 0 h 6698646"/>
              <a:gd name="connsiteX2" fmla="*/ 4222981 w 4222981"/>
              <a:gd name="connsiteY2" fmla="*/ 0 h 6698646"/>
              <a:gd name="connsiteX3" fmla="*/ 4222587 w 4222981"/>
              <a:gd name="connsiteY3" fmla="*/ 2489 h 6698646"/>
              <a:gd name="connsiteX4" fmla="*/ 3569697 w 4222981"/>
              <a:gd name="connsiteY4" fmla="*/ 4396345 h 6698646"/>
              <a:gd name="connsiteX5" fmla="*/ 27461 w 4222981"/>
              <a:gd name="connsiteY5" fmla="*/ 6653078 h 6698646"/>
              <a:gd name="connsiteX6" fmla="*/ 0 w 4222981"/>
              <a:gd name="connsiteY6" fmla="*/ 6641969 h 6698646"/>
              <a:gd name="connsiteX0" fmla="*/ 0 w 4222981"/>
              <a:gd name="connsiteY0" fmla="*/ 6641969 h 6655394"/>
              <a:gd name="connsiteX1" fmla="*/ 0 w 4222981"/>
              <a:gd name="connsiteY1" fmla="*/ 0 h 6655394"/>
              <a:gd name="connsiteX2" fmla="*/ 4222981 w 4222981"/>
              <a:gd name="connsiteY2" fmla="*/ 0 h 6655394"/>
              <a:gd name="connsiteX3" fmla="*/ 4222587 w 4222981"/>
              <a:gd name="connsiteY3" fmla="*/ 2489 h 6655394"/>
              <a:gd name="connsiteX4" fmla="*/ 3014847 w 4222981"/>
              <a:gd name="connsiteY4" fmla="*/ 3481060 h 6655394"/>
              <a:gd name="connsiteX5" fmla="*/ 27461 w 4222981"/>
              <a:gd name="connsiteY5" fmla="*/ 6653078 h 6655394"/>
              <a:gd name="connsiteX6" fmla="*/ 0 w 4222981"/>
              <a:gd name="connsiteY6" fmla="*/ 6641969 h 6655394"/>
              <a:gd name="connsiteX0" fmla="*/ 0 w 4222981"/>
              <a:gd name="connsiteY0" fmla="*/ 6641969 h 6654237"/>
              <a:gd name="connsiteX1" fmla="*/ 0 w 4222981"/>
              <a:gd name="connsiteY1" fmla="*/ 0 h 6654237"/>
              <a:gd name="connsiteX2" fmla="*/ 4222981 w 4222981"/>
              <a:gd name="connsiteY2" fmla="*/ 0 h 6654237"/>
              <a:gd name="connsiteX3" fmla="*/ 4222587 w 4222981"/>
              <a:gd name="connsiteY3" fmla="*/ 2489 h 6654237"/>
              <a:gd name="connsiteX4" fmla="*/ 3014847 w 4222981"/>
              <a:gd name="connsiteY4" fmla="*/ 3481060 h 6654237"/>
              <a:gd name="connsiteX5" fmla="*/ 27461 w 4222981"/>
              <a:gd name="connsiteY5" fmla="*/ 6653078 h 6654237"/>
              <a:gd name="connsiteX6" fmla="*/ 0 w 4222981"/>
              <a:gd name="connsiteY6" fmla="*/ 6641969 h 6654237"/>
              <a:gd name="connsiteX0" fmla="*/ 0 w 4222981"/>
              <a:gd name="connsiteY0" fmla="*/ 6641969 h 6654045"/>
              <a:gd name="connsiteX1" fmla="*/ 0 w 4222981"/>
              <a:gd name="connsiteY1" fmla="*/ 0 h 6654045"/>
              <a:gd name="connsiteX2" fmla="*/ 4222981 w 4222981"/>
              <a:gd name="connsiteY2" fmla="*/ 0 h 6654045"/>
              <a:gd name="connsiteX3" fmla="*/ 4222587 w 4222981"/>
              <a:gd name="connsiteY3" fmla="*/ 2489 h 6654045"/>
              <a:gd name="connsiteX4" fmla="*/ 3014847 w 4222981"/>
              <a:gd name="connsiteY4" fmla="*/ 3481060 h 6654045"/>
              <a:gd name="connsiteX5" fmla="*/ 27461 w 4222981"/>
              <a:gd name="connsiteY5" fmla="*/ 6653078 h 6654045"/>
              <a:gd name="connsiteX6" fmla="*/ 0 w 4222981"/>
              <a:gd name="connsiteY6" fmla="*/ 6641969 h 665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4045">
                <a:moveTo>
                  <a:pt x="0" y="6641969"/>
                </a:moveTo>
                <a:lnTo>
                  <a:pt x="0" y="0"/>
                </a:lnTo>
                <a:lnTo>
                  <a:pt x="4222981" y="0"/>
                </a:lnTo>
                <a:cubicBezTo>
                  <a:pt x="4222850" y="830"/>
                  <a:pt x="4222718" y="1659"/>
                  <a:pt x="4222587" y="2489"/>
                </a:cubicBezTo>
                <a:cubicBezTo>
                  <a:pt x="4111473" y="121505"/>
                  <a:pt x="2662883" y="1226085"/>
                  <a:pt x="3014847" y="3481060"/>
                </a:cubicBezTo>
                <a:cubicBezTo>
                  <a:pt x="3309079" y="5366158"/>
                  <a:pt x="327713" y="6695074"/>
                  <a:pt x="27461" y="6653078"/>
                </a:cubicBezTo>
                <a:lnTo>
                  <a:pt x="0" y="6641969"/>
                </a:ln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7" name="Text Placeholder 32">
            <a:extLst>
              <a:ext uri="{FF2B5EF4-FFF2-40B4-BE49-F238E27FC236}">
                <a16:creationId xmlns:a16="http://schemas.microsoft.com/office/drawing/2014/main" id="{6F618209-7319-184B-9330-FE5C9899D7C6}"/>
              </a:ext>
            </a:extLst>
          </p:cNvPr>
          <p:cNvSpPr>
            <a:spLocks noGrp="1"/>
          </p:cNvSpPr>
          <p:nvPr>
            <p:ph type="body" sz="quarter" idx="11" hasCustomPrompt="1"/>
          </p:nvPr>
        </p:nvSpPr>
        <p:spPr>
          <a:xfrm>
            <a:off x="313878" y="1218968"/>
            <a:ext cx="4867723" cy="538993"/>
          </a:xfrm>
        </p:spPr>
        <p:txBody>
          <a:bodyPr anchor="b">
            <a:normAutofit/>
          </a:bodyPr>
          <a:lstStyle>
            <a:lvl1pPr algn="l">
              <a:lnSpc>
                <a:spcPct val="100000"/>
              </a:lnSpc>
              <a:spcBef>
                <a:spcPts val="0"/>
              </a:spcBef>
              <a:spcAft>
                <a:spcPts val="600"/>
              </a:spcAft>
              <a:defRPr sz="24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38" name="Text Placeholder 32">
            <a:extLst>
              <a:ext uri="{FF2B5EF4-FFF2-40B4-BE49-F238E27FC236}">
                <a16:creationId xmlns:a16="http://schemas.microsoft.com/office/drawing/2014/main" id="{3780655F-233B-104D-AB2C-DC3E2CC6CD72}"/>
              </a:ext>
            </a:extLst>
          </p:cNvPr>
          <p:cNvSpPr>
            <a:spLocks noGrp="1"/>
          </p:cNvSpPr>
          <p:nvPr>
            <p:ph type="body" sz="quarter" idx="12" hasCustomPrompt="1"/>
          </p:nvPr>
        </p:nvSpPr>
        <p:spPr>
          <a:xfrm>
            <a:off x="313878" y="1812014"/>
            <a:ext cx="4867722" cy="4436386"/>
          </a:xfrm>
        </p:spPr>
        <p:txBody>
          <a:bodyPr anchor="t">
            <a:normAutofit/>
          </a:bodyPr>
          <a:lstStyle>
            <a:lvl1pPr algn="l">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41" name="Text Placeholder 32">
            <a:extLst>
              <a:ext uri="{FF2B5EF4-FFF2-40B4-BE49-F238E27FC236}">
                <a16:creationId xmlns:a16="http://schemas.microsoft.com/office/drawing/2014/main" id="{46D3C9DB-51C0-EE45-A495-D059B5AF6C92}"/>
              </a:ext>
            </a:extLst>
          </p:cNvPr>
          <p:cNvSpPr>
            <a:spLocks noGrp="1"/>
          </p:cNvSpPr>
          <p:nvPr>
            <p:ph type="body" sz="quarter" idx="13" hasCustomPrompt="1"/>
          </p:nvPr>
        </p:nvSpPr>
        <p:spPr>
          <a:xfrm>
            <a:off x="6008858" y="1218968"/>
            <a:ext cx="4697243" cy="538993"/>
          </a:xfrm>
        </p:spPr>
        <p:txBody>
          <a:bodyPr anchor="b">
            <a:normAutofit/>
          </a:bodyPr>
          <a:lstStyle>
            <a:lvl1pPr>
              <a:lnSpc>
                <a:spcPct val="100000"/>
              </a:lnSpc>
              <a:spcBef>
                <a:spcPts val="0"/>
              </a:spcBef>
              <a:spcAft>
                <a:spcPts val="600"/>
              </a:spcAft>
              <a:defRPr sz="24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42" name="Text Placeholder 32">
            <a:extLst>
              <a:ext uri="{FF2B5EF4-FFF2-40B4-BE49-F238E27FC236}">
                <a16:creationId xmlns:a16="http://schemas.microsoft.com/office/drawing/2014/main" id="{0C336458-66A7-D545-B342-99D3A0EC4809}"/>
              </a:ext>
            </a:extLst>
          </p:cNvPr>
          <p:cNvSpPr>
            <a:spLocks noGrp="1"/>
          </p:cNvSpPr>
          <p:nvPr>
            <p:ph type="body" sz="quarter" idx="14" hasCustomPrompt="1"/>
          </p:nvPr>
        </p:nvSpPr>
        <p:spPr>
          <a:xfrm>
            <a:off x="6008858" y="1812014"/>
            <a:ext cx="4697242" cy="4436386"/>
          </a:xfrm>
        </p:spPr>
        <p:txBody>
          <a:bodyPr anchor="t">
            <a:normAutofit/>
          </a:bodyPr>
          <a:lstStyle>
            <a:lvl1pPr>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9" name="Slide Number Placeholder 8">
            <a:extLst>
              <a:ext uri="{FF2B5EF4-FFF2-40B4-BE49-F238E27FC236}">
                <a16:creationId xmlns:a16="http://schemas.microsoft.com/office/drawing/2014/main" id="{F1E6C6B0-A601-8049-B940-4DA26B2A9443}"/>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5291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 Headline">
    <p:bg>
      <p:bgPr>
        <a:solidFill>
          <a:schemeClr val="tx2"/>
        </a:solidFill>
        <a:effectLst/>
      </p:bgPr>
    </p:bg>
    <p:spTree>
      <p:nvGrpSpPr>
        <p:cNvPr id="1" name=""/>
        <p:cNvGrpSpPr/>
        <p:nvPr/>
      </p:nvGrpSpPr>
      <p:grpSpPr>
        <a:xfrm>
          <a:off x="0" y="0"/>
          <a:ext cx="0" cy="0"/>
          <a:chOff x="0" y="0"/>
          <a:chExt cx="0" cy="0"/>
        </a:xfrm>
      </p:grpSpPr>
      <p:sp>
        <p:nvSpPr>
          <p:cNvPr id="4" name="Picture Placeholder 12">
            <a:extLst>
              <a:ext uri="{FF2B5EF4-FFF2-40B4-BE49-F238E27FC236}">
                <a16:creationId xmlns:a16="http://schemas.microsoft.com/office/drawing/2014/main" id="{16F13970-574E-254F-97A8-CE705AB10F44}"/>
              </a:ext>
            </a:extLst>
          </p:cNvPr>
          <p:cNvSpPr>
            <a:spLocks noGrp="1"/>
          </p:cNvSpPr>
          <p:nvPr>
            <p:ph type="pic" sz="quarter" idx="12"/>
          </p:nvPr>
        </p:nvSpPr>
        <p:spPr>
          <a:xfrm>
            <a:off x="2106562" y="172552"/>
            <a:ext cx="7978876" cy="6512895"/>
          </a:xfrm>
          <a:custGeom>
            <a:avLst/>
            <a:gdLst>
              <a:gd name="connsiteX0" fmla="*/ 0 w 5326063"/>
              <a:gd name="connsiteY0" fmla="*/ 2663825 h 5327650"/>
              <a:gd name="connsiteX1" fmla="*/ 2663032 w 5326063"/>
              <a:gd name="connsiteY1" fmla="*/ 0 h 5327650"/>
              <a:gd name="connsiteX2" fmla="*/ 5326063 w 5326063"/>
              <a:gd name="connsiteY2" fmla="*/ 2663825 h 5327650"/>
              <a:gd name="connsiteX3" fmla="*/ 2663032 w 5326063"/>
              <a:gd name="connsiteY3" fmla="*/ 5327650 h 5327650"/>
              <a:gd name="connsiteX4" fmla="*/ 0 w 5326063"/>
              <a:gd name="connsiteY4" fmla="*/ 2663825 h 5327650"/>
              <a:gd name="connsiteX0" fmla="*/ 0 w 5326063"/>
              <a:gd name="connsiteY0" fmla="*/ 2673412 h 5337237"/>
              <a:gd name="connsiteX1" fmla="*/ 2663032 w 5326063"/>
              <a:gd name="connsiteY1" fmla="*/ 9587 h 5337237"/>
              <a:gd name="connsiteX2" fmla="*/ 5326063 w 5326063"/>
              <a:gd name="connsiteY2" fmla="*/ 2673412 h 5337237"/>
              <a:gd name="connsiteX3" fmla="*/ 2663032 w 5326063"/>
              <a:gd name="connsiteY3" fmla="*/ 5337237 h 5337237"/>
              <a:gd name="connsiteX4" fmla="*/ 0 w 5326063"/>
              <a:gd name="connsiteY4" fmla="*/ 2673412 h 5337237"/>
              <a:gd name="connsiteX0" fmla="*/ 0 w 5327307"/>
              <a:gd name="connsiteY0" fmla="*/ 2673412 h 5337237"/>
              <a:gd name="connsiteX1" fmla="*/ 2663032 w 5327307"/>
              <a:gd name="connsiteY1" fmla="*/ 9587 h 5337237"/>
              <a:gd name="connsiteX2" fmla="*/ 5326063 w 5327307"/>
              <a:gd name="connsiteY2" fmla="*/ 2673412 h 5337237"/>
              <a:gd name="connsiteX3" fmla="*/ 2663032 w 5327307"/>
              <a:gd name="connsiteY3" fmla="*/ 5337237 h 5337237"/>
              <a:gd name="connsiteX4" fmla="*/ 0 w 5327307"/>
              <a:gd name="connsiteY4" fmla="*/ 2673412 h 5337237"/>
              <a:gd name="connsiteX0" fmla="*/ 0 w 5327533"/>
              <a:gd name="connsiteY0" fmla="*/ 2673412 h 5367905"/>
              <a:gd name="connsiteX1" fmla="*/ 2663032 w 5327533"/>
              <a:gd name="connsiteY1" fmla="*/ 9587 h 5367905"/>
              <a:gd name="connsiteX2" fmla="*/ 5326063 w 5327533"/>
              <a:gd name="connsiteY2" fmla="*/ 2673412 h 5367905"/>
              <a:gd name="connsiteX3" fmla="*/ 2663032 w 5327533"/>
              <a:gd name="connsiteY3" fmla="*/ 5337237 h 5367905"/>
              <a:gd name="connsiteX4" fmla="*/ 0 w 5327533"/>
              <a:gd name="connsiteY4" fmla="*/ 2673412 h 5367905"/>
              <a:gd name="connsiteX0" fmla="*/ 122147 w 5449680"/>
              <a:gd name="connsiteY0" fmla="*/ 2677415 h 5382558"/>
              <a:gd name="connsiteX1" fmla="*/ 2785179 w 5449680"/>
              <a:gd name="connsiteY1" fmla="*/ 13590 h 5382558"/>
              <a:gd name="connsiteX2" fmla="*/ 5448210 w 5449680"/>
              <a:gd name="connsiteY2" fmla="*/ 2677415 h 5382558"/>
              <a:gd name="connsiteX3" fmla="*/ 2785179 w 5449680"/>
              <a:gd name="connsiteY3" fmla="*/ 5341240 h 5382558"/>
              <a:gd name="connsiteX4" fmla="*/ 122147 w 5449680"/>
              <a:gd name="connsiteY4" fmla="*/ 2677415 h 538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680" h="5382558">
                <a:moveTo>
                  <a:pt x="122147" y="2677415"/>
                </a:moveTo>
                <a:cubicBezTo>
                  <a:pt x="777596" y="1165359"/>
                  <a:pt x="968587" y="-148638"/>
                  <a:pt x="2785179" y="13590"/>
                </a:cubicBezTo>
                <a:cubicBezTo>
                  <a:pt x="4601771" y="175818"/>
                  <a:pt x="5392459" y="323530"/>
                  <a:pt x="5448210" y="2677415"/>
                </a:cubicBezTo>
                <a:cubicBezTo>
                  <a:pt x="5503961" y="5031300"/>
                  <a:pt x="3963142" y="5033869"/>
                  <a:pt x="2785179" y="5341240"/>
                </a:cubicBezTo>
                <a:cubicBezTo>
                  <a:pt x="1607216" y="5648611"/>
                  <a:pt x="-533302" y="4189471"/>
                  <a:pt x="122147" y="2677415"/>
                </a:cubicBezTo>
                <a:close/>
              </a:path>
            </a:pathLst>
          </a:custGeom>
          <a:solidFill>
            <a:schemeClr val="tx2"/>
          </a:solidFill>
          <a:effectLst>
            <a:outerShdw blurRad="190500" algn="ctr" rotWithShape="0">
              <a:schemeClr val="tx2">
                <a:lumMod val="50000"/>
                <a:alpha val="50000"/>
              </a:schemeClr>
            </a:outerShdw>
          </a:effectLst>
        </p:spPr>
        <p:txBody>
          <a:bodyPr/>
          <a:lstStyle/>
          <a:p>
            <a:r>
              <a:rPr lang="en-US" dirty="0"/>
              <a:t>Click icon to add picture</a:t>
            </a:r>
          </a:p>
        </p:txBody>
      </p:sp>
      <p:sp>
        <p:nvSpPr>
          <p:cNvPr id="6" name="Text Placeholder 7">
            <a:extLst>
              <a:ext uri="{FF2B5EF4-FFF2-40B4-BE49-F238E27FC236}">
                <a16:creationId xmlns:a16="http://schemas.microsoft.com/office/drawing/2014/main" id="{BFC96BB4-5AB0-724B-BE61-FE9963B1BC75}"/>
              </a:ext>
            </a:extLst>
          </p:cNvPr>
          <p:cNvSpPr>
            <a:spLocks noGrp="1"/>
          </p:cNvSpPr>
          <p:nvPr>
            <p:ph type="body" sz="quarter" idx="10" hasCustomPrompt="1"/>
          </p:nvPr>
        </p:nvSpPr>
        <p:spPr>
          <a:xfrm>
            <a:off x="735247" y="601923"/>
            <a:ext cx="5360753" cy="4288731"/>
          </a:xfrm>
        </p:spPr>
        <p:txBody>
          <a:bodyPr anchor="t">
            <a:normAutofit/>
          </a:bodyPr>
          <a:lstStyle>
            <a:lvl1pPr algn="l">
              <a:defRPr sz="6000" b="1" spc="300">
                <a:solidFill>
                  <a:schemeClr val="accent4"/>
                </a:solidFill>
              </a:defRPr>
            </a:lvl1pPr>
          </a:lstStyle>
          <a:p>
            <a:pPr lvl="0"/>
            <a:r>
              <a:rPr lang="en-US"/>
              <a:t>HEADLINE</a:t>
            </a:r>
          </a:p>
        </p:txBody>
      </p:sp>
      <p:sp>
        <p:nvSpPr>
          <p:cNvPr id="7" name="Slide Number Placeholder 8">
            <a:extLst>
              <a:ext uri="{FF2B5EF4-FFF2-40B4-BE49-F238E27FC236}">
                <a16:creationId xmlns:a16="http://schemas.microsoft.com/office/drawing/2014/main" id="{24F03AD8-487C-4B4D-B6D5-162683BD0BD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grpSp>
        <p:nvGrpSpPr>
          <p:cNvPr id="8" name="Group 7">
            <a:extLst>
              <a:ext uri="{FF2B5EF4-FFF2-40B4-BE49-F238E27FC236}">
                <a16:creationId xmlns:a16="http://schemas.microsoft.com/office/drawing/2014/main" id="{16673F8A-5EC2-6D45-9452-75D829A5D9B0}"/>
              </a:ext>
            </a:extLst>
          </p:cNvPr>
          <p:cNvGrpSpPr/>
          <p:nvPr userDrawn="1"/>
        </p:nvGrpSpPr>
        <p:grpSpPr>
          <a:xfrm>
            <a:off x="12594070" y="2514600"/>
            <a:ext cx="1972476" cy="1812102"/>
            <a:chOff x="5660044" y="-2683367"/>
            <a:chExt cx="1972476" cy="1812102"/>
          </a:xfrm>
        </p:grpSpPr>
        <p:sp>
          <p:nvSpPr>
            <p:cNvPr id="9" name="Oval 5">
              <a:extLst>
                <a:ext uri="{FF2B5EF4-FFF2-40B4-BE49-F238E27FC236}">
                  <a16:creationId xmlns:a16="http://schemas.microsoft.com/office/drawing/2014/main" id="{7FD495C7-B55A-324F-934C-8FC0AD572D29}"/>
                </a:ext>
              </a:extLst>
            </p:cNvPr>
            <p:cNvSpPr/>
            <p:nvPr userDrawn="1"/>
          </p:nvSpPr>
          <p:spPr>
            <a:xfrm>
              <a:off x="5660044" y="-2683367"/>
              <a:ext cx="1972476" cy="1812102"/>
            </a:xfrm>
            <a:custGeom>
              <a:avLst/>
              <a:gdLst>
                <a:gd name="connsiteX0" fmla="*/ 0 w 1813809"/>
                <a:gd name="connsiteY0" fmla="*/ 906905 h 1813809"/>
                <a:gd name="connsiteX1" fmla="*/ 906905 w 1813809"/>
                <a:gd name="connsiteY1" fmla="*/ 0 h 1813809"/>
                <a:gd name="connsiteX2" fmla="*/ 1813810 w 1813809"/>
                <a:gd name="connsiteY2" fmla="*/ 906905 h 1813809"/>
                <a:gd name="connsiteX3" fmla="*/ 906905 w 1813809"/>
                <a:gd name="connsiteY3" fmla="*/ 1813810 h 1813809"/>
                <a:gd name="connsiteX4" fmla="*/ 0 w 1813809"/>
                <a:gd name="connsiteY4" fmla="*/ 906905 h 1813809"/>
                <a:gd name="connsiteX0" fmla="*/ 0 w 1813810"/>
                <a:gd name="connsiteY0" fmla="*/ 906905 h 1813810"/>
                <a:gd name="connsiteX1" fmla="*/ 906905 w 1813810"/>
                <a:gd name="connsiteY1" fmla="*/ 0 h 1813810"/>
                <a:gd name="connsiteX2" fmla="*/ 1813810 w 1813810"/>
                <a:gd name="connsiteY2" fmla="*/ 906905 h 1813810"/>
                <a:gd name="connsiteX3" fmla="*/ 906905 w 1813810"/>
                <a:gd name="connsiteY3" fmla="*/ 1813810 h 1813810"/>
                <a:gd name="connsiteX4" fmla="*/ 0 w 1813810"/>
                <a:gd name="connsiteY4" fmla="*/ 906905 h 1813810"/>
                <a:gd name="connsiteX0" fmla="*/ 0 w 1816911"/>
                <a:gd name="connsiteY0" fmla="*/ 906905 h 1813810"/>
                <a:gd name="connsiteX1" fmla="*/ 906905 w 1816911"/>
                <a:gd name="connsiteY1" fmla="*/ 0 h 1813810"/>
                <a:gd name="connsiteX2" fmla="*/ 1813810 w 1816911"/>
                <a:gd name="connsiteY2" fmla="*/ 906905 h 1813810"/>
                <a:gd name="connsiteX3" fmla="*/ 906905 w 1816911"/>
                <a:gd name="connsiteY3" fmla="*/ 1813810 h 1813810"/>
                <a:gd name="connsiteX4" fmla="*/ 0 w 1816911"/>
                <a:gd name="connsiteY4" fmla="*/ 906905 h 1813810"/>
                <a:gd name="connsiteX0" fmla="*/ 7751 w 1824662"/>
                <a:gd name="connsiteY0" fmla="*/ 906905 h 1813810"/>
                <a:gd name="connsiteX1" fmla="*/ 914656 w 1824662"/>
                <a:gd name="connsiteY1" fmla="*/ 0 h 1813810"/>
                <a:gd name="connsiteX2" fmla="*/ 1821561 w 1824662"/>
                <a:gd name="connsiteY2" fmla="*/ 906905 h 1813810"/>
                <a:gd name="connsiteX3" fmla="*/ 914656 w 1824662"/>
                <a:gd name="connsiteY3" fmla="*/ 1813810 h 1813810"/>
                <a:gd name="connsiteX4" fmla="*/ 7751 w 1824662"/>
                <a:gd name="connsiteY4" fmla="*/ 906905 h 1813810"/>
                <a:gd name="connsiteX0" fmla="*/ 7751 w 1824662"/>
                <a:gd name="connsiteY0" fmla="*/ 971537 h 1878442"/>
                <a:gd name="connsiteX1" fmla="*/ 914656 w 1824662"/>
                <a:gd name="connsiteY1" fmla="*/ 64632 h 1878442"/>
                <a:gd name="connsiteX2" fmla="*/ 1821561 w 1824662"/>
                <a:gd name="connsiteY2" fmla="*/ 971537 h 1878442"/>
                <a:gd name="connsiteX3" fmla="*/ 914656 w 1824662"/>
                <a:gd name="connsiteY3" fmla="*/ 1878442 h 1878442"/>
                <a:gd name="connsiteX4" fmla="*/ 7751 w 1824662"/>
                <a:gd name="connsiteY4" fmla="*/ 971537 h 1878442"/>
                <a:gd name="connsiteX0" fmla="*/ 7751 w 1824662"/>
                <a:gd name="connsiteY0" fmla="*/ 971537 h 1966223"/>
                <a:gd name="connsiteX1" fmla="*/ 914656 w 1824662"/>
                <a:gd name="connsiteY1" fmla="*/ 64632 h 1966223"/>
                <a:gd name="connsiteX2" fmla="*/ 1821561 w 1824662"/>
                <a:gd name="connsiteY2" fmla="*/ 971537 h 1966223"/>
                <a:gd name="connsiteX3" fmla="*/ 914656 w 1824662"/>
                <a:gd name="connsiteY3" fmla="*/ 1878442 h 1966223"/>
                <a:gd name="connsiteX4" fmla="*/ 7751 w 1824662"/>
                <a:gd name="connsiteY4" fmla="*/ 971537 h 1966223"/>
                <a:gd name="connsiteX0" fmla="*/ 7751 w 1832194"/>
                <a:gd name="connsiteY0" fmla="*/ 971537 h 1966223"/>
                <a:gd name="connsiteX1" fmla="*/ 914656 w 1832194"/>
                <a:gd name="connsiteY1" fmla="*/ 64632 h 1966223"/>
                <a:gd name="connsiteX2" fmla="*/ 1821561 w 1832194"/>
                <a:gd name="connsiteY2" fmla="*/ 971537 h 1966223"/>
                <a:gd name="connsiteX3" fmla="*/ 914656 w 1832194"/>
                <a:gd name="connsiteY3" fmla="*/ 1878442 h 1966223"/>
                <a:gd name="connsiteX4" fmla="*/ 7751 w 1832194"/>
                <a:gd name="connsiteY4" fmla="*/ 971537 h 1966223"/>
                <a:gd name="connsiteX0" fmla="*/ 7751 w 1832465"/>
                <a:gd name="connsiteY0" fmla="*/ 971537 h 1898104"/>
                <a:gd name="connsiteX1" fmla="*/ 914656 w 1832465"/>
                <a:gd name="connsiteY1" fmla="*/ 64632 h 1898104"/>
                <a:gd name="connsiteX2" fmla="*/ 1821561 w 1832465"/>
                <a:gd name="connsiteY2" fmla="*/ 971537 h 1898104"/>
                <a:gd name="connsiteX3" fmla="*/ 914656 w 1832465"/>
                <a:gd name="connsiteY3" fmla="*/ 1878442 h 1898104"/>
                <a:gd name="connsiteX4" fmla="*/ 7751 w 1832465"/>
                <a:gd name="connsiteY4" fmla="*/ 971537 h 1898104"/>
                <a:gd name="connsiteX0" fmla="*/ 8411 w 1833125"/>
                <a:gd name="connsiteY0" fmla="*/ 906906 h 1833473"/>
                <a:gd name="connsiteX1" fmla="*/ 915316 w 1833125"/>
                <a:gd name="connsiteY1" fmla="*/ 1 h 1833473"/>
                <a:gd name="connsiteX2" fmla="*/ 1822221 w 1833125"/>
                <a:gd name="connsiteY2" fmla="*/ 906906 h 1833473"/>
                <a:gd name="connsiteX3" fmla="*/ 915316 w 1833125"/>
                <a:gd name="connsiteY3" fmla="*/ 1813811 h 1833473"/>
                <a:gd name="connsiteX4" fmla="*/ 8411 w 1833125"/>
                <a:gd name="connsiteY4" fmla="*/ 906906 h 1833473"/>
                <a:gd name="connsiteX0" fmla="*/ 4901 w 1976845"/>
                <a:gd name="connsiteY0" fmla="*/ 967949 h 1815523"/>
                <a:gd name="connsiteX1" fmla="*/ 1061708 w 1976845"/>
                <a:gd name="connsiteY1" fmla="*/ 1083 h 1815523"/>
                <a:gd name="connsiteX2" fmla="*/ 1968613 w 1976845"/>
                <a:gd name="connsiteY2" fmla="*/ 907988 h 1815523"/>
                <a:gd name="connsiteX3" fmla="*/ 1061708 w 1976845"/>
                <a:gd name="connsiteY3" fmla="*/ 1814893 h 1815523"/>
                <a:gd name="connsiteX4" fmla="*/ 4901 w 1976845"/>
                <a:gd name="connsiteY4" fmla="*/ 967949 h 1815523"/>
                <a:gd name="connsiteX0" fmla="*/ 23322 w 1995266"/>
                <a:gd name="connsiteY0" fmla="*/ 967949 h 1815993"/>
                <a:gd name="connsiteX1" fmla="*/ 1080129 w 1995266"/>
                <a:gd name="connsiteY1" fmla="*/ 1083 h 1815993"/>
                <a:gd name="connsiteX2" fmla="*/ 1987034 w 1995266"/>
                <a:gd name="connsiteY2" fmla="*/ 907988 h 1815993"/>
                <a:gd name="connsiteX3" fmla="*/ 1080129 w 1995266"/>
                <a:gd name="connsiteY3" fmla="*/ 1814893 h 1815993"/>
                <a:gd name="connsiteX4" fmla="*/ 23322 w 1995266"/>
                <a:gd name="connsiteY4" fmla="*/ 967949 h 1815993"/>
                <a:gd name="connsiteX0" fmla="*/ 23322 w 2007075"/>
                <a:gd name="connsiteY0" fmla="*/ 967572 h 1815616"/>
                <a:gd name="connsiteX1" fmla="*/ 1080129 w 2007075"/>
                <a:gd name="connsiteY1" fmla="*/ 706 h 1815616"/>
                <a:gd name="connsiteX2" fmla="*/ 1987034 w 2007075"/>
                <a:gd name="connsiteY2" fmla="*/ 907611 h 1815616"/>
                <a:gd name="connsiteX3" fmla="*/ 1080129 w 2007075"/>
                <a:gd name="connsiteY3" fmla="*/ 1814516 h 1815616"/>
                <a:gd name="connsiteX4" fmla="*/ 23322 w 2007075"/>
                <a:gd name="connsiteY4" fmla="*/ 967572 h 1815616"/>
                <a:gd name="connsiteX0" fmla="*/ 1579 w 1966722"/>
                <a:gd name="connsiteY0" fmla="*/ 922024 h 1769099"/>
                <a:gd name="connsiteX1" fmla="*/ 848524 w 1966722"/>
                <a:gd name="connsiteY1" fmla="*/ 129 h 1769099"/>
                <a:gd name="connsiteX2" fmla="*/ 1965291 w 1966722"/>
                <a:gd name="connsiteY2" fmla="*/ 862063 h 1769099"/>
                <a:gd name="connsiteX3" fmla="*/ 1058386 w 1966722"/>
                <a:gd name="connsiteY3" fmla="*/ 1768968 h 1769099"/>
                <a:gd name="connsiteX4" fmla="*/ 1579 w 1966722"/>
                <a:gd name="connsiteY4" fmla="*/ 922024 h 1769099"/>
                <a:gd name="connsiteX0" fmla="*/ 6240 w 1971383"/>
                <a:gd name="connsiteY0" fmla="*/ 922024 h 1769099"/>
                <a:gd name="connsiteX1" fmla="*/ 853185 w 1971383"/>
                <a:gd name="connsiteY1" fmla="*/ 129 h 1769099"/>
                <a:gd name="connsiteX2" fmla="*/ 1969952 w 1971383"/>
                <a:gd name="connsiteY2" fmla="*/ 862063 h 1769099"/>
                <a:gd name="connsiteX3" fmla="*/ 1063047 w 1971383"/>
                <a:gd name="connsiteY3" fmla="*/ 1768968 h 1769099"/>
                <a:gd name="connsiteX4" fmla="*/ 6240 w 1971383"/>
                <a:gd name="connsiteY4" fmla="*/ 922024 h 1769099"/>
                <a:gd name="connsiteX0" fmla="*/ 6240 w 1972208"/>
                <a:gd name="connsiteY0" fmla="*/ 922024 h 1903473"/>
                <a:gd name="connsiteX1" fmla="*/ 853185 w 1972208"/>
                <a:gd name="connsiteY1" fmla="*/ 129 h 1903473"/>
                <a:gd name="connsiteX2" fmla="*/ 1969952 w 1972208"/>
                <a:gd name="connsiteY2" fmla="*/ 862063 h 1903473"/>
                <a:gd name="connsiteX3" fmla="*/ 1063047 w 1972208"/>
                <a:gd name="connsiteY3" fmla="*/ 1768968 h 1903473"/>
                <a:gd name="connsiteX4" fmla="*/ 6240 w 1972208"/>
                <a:gd name="connsiteY4" fmla="*/ 922024 h 1903473"/>
                <a:gd name="connsiteX0" fmla="*/ 6240 w 1972476"/>
                <a:gd name="connsiteY0" fmla="*/ 922024 h 1812102"/>
                <a:gd name="connsiteX1" fmla="*/ 853185 w 1972476"/>
                <a:gd name="connsiteY1" fmla="*/ 129 h 1812102"/>
                <a:gd name="connsiteX2" fmla="*/ 1969952 w 1972476"/>
                <a:gd name="connsiteY2" fmla="*/ 862063 h 1812102"/>
                <a:gd name="connsiteX3" fmla="*/ 1063047 w 1972476"/>
                <a:gd name="connsiteY3" fmla="*/ 1768968 h 1812102"/>
                <a:gd name="connsiteX4" fmla="*/ 6240 w 1972476"/>
                <a:gd name="connsiteY4" fmla="*/ 922024 h 18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476" h="1812102">
                  <a:moveTo>
                    <a:pt x="6240" y="922024"/>
                  </a:moveTo>
                  <a:cubicBezTo>
                    <a:pt x="-28737" y="627218"/>
                    <a:pt x="61205" y="10122"/>
                    <a:pt x="853185" y="129"/>
                  </a:cubicBezTo>
                  <a:cubicBezTo>
                    <a:pt x="1645165" y="-9864"/>
                    <a:pt x="1934975" y="567257"/>
                    <a:pt x="1969952" y="862063"/>
                  </a:cubicBezTo>
                  <a:cubicBezTo>
                    <a:pt x="2004929" y="1156869"/>
                    <a:pt x="1675145" y="1534122"/>
                    <a:pt x="1063047" y="1768968"/>
                  </a:cubicBezTo>
                  <a:cubicBezTo>
                    <a:pt x="450949" y="2003814"/>
                    <a:pt x="41217" y="1216830"/>
                    <a:pt x="6240" y="9220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5">
              <a:extLst>
                <a:ext uri="{FF2B5EF4-FFF2-40B4-BE49-F238E27FC236}">
                  <a16:creationId xmlns:a16="http://schemas.microsoft.com/office/drawing/2014/main" id="{7B44B07A-7C08-2B4A-B1EC-CCA01E68C44A}"/>
                </a:ext>
              </a:extLst>
            </p:cNvPr>
            <p:cNvSpPr/>
            <p:nvPr userDrawn="1"/>
          </p:nvSpPr>
          <p:spPr>
            <a:xfrm>
              <a:off x="5905307" y="-2458046"/>
              <a:ext cx="1481950" cy="1361459"/>
            </a:xfrm>
            <a:custGeom>
              <a:avLst/>
              <a:gdLst>
                <a:gd name="connsiteX0" fmla="*/ 0 w 1813809"/>
                <a:gd name="connsiteY0" fmla="*/ 906905 h 1813809"/>
                <a:gd name="connsiteX1" fmla="*/ 906905 w 1813809"/>
                <a:gd name="connsiteY1" fmla="*/ 0 h 1813809"/>
                <a:gd name="connsiteX2" fmla="*/ 1813810 w 1813809"/>
                <a:gd name="connsiteY2" fmla="*/ 906905 h 1813809"/>
                <a:gd name="connsiteX3" fmla="*/ 906905 w 1813809"/>
                <a:gd name="connsiteY3" fmla="*/ 1813810 h 1813809"/>
                <a:gd name="connsiteX4" fmla="*/ 0 w 1813809"/>
                <a:gd name="connsiteY4" fmla="*/ 906905 h 1813809"/>
                <a:gd name="connsiteX0" fmla="*/ 0 w 1813810"/>
                <a:gd name="connsiteY0" fmla="*/ 906905 h 1813810"/>
                <a:gd name="connsiteX1" fmla="*/ 906905 w 1813810"/>
                <a:gd name="connsiteY1" fmla="*/ 0 h 1813810"/>
                <a:gd name="connsiteX2" fmla="*/ 1813810 w 1813810"/>
                <a:gd name="connsiteY2" fmla="*/ 906905 h 1813810"/>
                <a:gd name="connsiteX3" fmla="*/ 906905 w 1813810"/>
                <a:gd name="connsiteY3" fmla="*/ 1813810 h 1813810"/>
                <a:gd name="connsiteX4" fmla="*/ 0 w 1813810"/>
                <a:gd name="connsiteY4" fmla="*/ 906905 h 1813810"/>
                <a:gd name="connsiteX0" fmla="*/ 0 w 1816911"/>
                <a:gd name="connsiteY0" fmla="*/ 906905 h 1813810"/>
                <a:gd name="connsiteX1" fmla="*/ 906905 w 1816911"/>
                <a:gd name="connsiteY1" fmla="*/ 0 h 1813810"/>
                <a:gd name="connsiteX2" fmla="*/ 1813810 w 1816911"/>
                <a:gd name="connsiteY2" fmla="*/ 906905 h 1813810"/>
                <a:gd name="connsiteX3" fmla="*/ 906905 w 1816911"/>
                <a:gd name="connsiteY3" fmla="*/ 1813810 h 1813810"/>
                <a:gd name="connsiteX4" fmla="*/ 0 w 1816911"/>
                <a:gd name="connsiteY4" fmla="*/ 906905 h 1813810"/>
                <a:gd name="connsiteX0" fmla="*/ 7751 w 1824662"/>
                <a:gd name="connsiteY0" fmla="*/ 906905 h 1813810"/>
                <a:gd name="connsiteX1" fmla="*/ 914656 w 1824662"/>
                <a:gd name="connsiteY1" fmla="*/ 0 h 1813810"/>
                <a:gd name="connsiteX2" fmla="*/ 1821561 w 1824662"/>
                <a:gd name="connsiteY2" fmla="*/ 906905 h 1813810"/>
                <a:gd name="connsiteX3" fmla="*/ 914656 w 1824662"/>
                <a:gd name="connsiteY3" fmla="*/ 1813810 h 1813810"/>
                <a:gd name="connsiteX4" fmla="*/ 7751 w 1824662"/>
                <a:gd name="connsiteY4" fmla="*/ 906905 h 1813810"/>
                <a:gd name="connsiteX0" fmla="*/ 7751 w 1824662"/>
                <a:gd name="connsiteY0" fmla="*/ 971537 h 1878442"/>
                <a:gd name="connsiteX1" fmla="*/ 914656 w 1824662"/>
                <a:gd name="connsiteY1" fmla="*/ 64632 h 1878442"/>
                <a:gd name="connsiteX2" fmla="*/ 1821561 w 1824662"/>
                <a:gd name="connsiteY2" fmla="*/ 971537 h 1878442"/>
                <a:gd name="connsiteX3" fmla="*/ 914656 w 1824662"/>
                <a:gd name="connsiteY3" fmla="*/ 1878442 h 1878442"/>
                <a:gd name="connsiteX4" fmla="*/ 7751 w 1824662"/>
                <a:gd name="connsiteY4" fmla="*/ 971537 h 1878442"/>
                <a:gd name="connsiteX0" fmla="*/ 7751 w 1824662"/>
                <a:gd name="connsiteY0" fmla="*/ 971537 h 1966223"/>
                <a:gd name="connsiteX1" fmla="*/ 914656 w 1824662"/>
                <a:gd name="connsiteY1" fmla="*/ 64632 h 1966223"/>
                <a:gd name="connsiteX2" fmla="*/ 1821561 w 1824662"/>
                <a:gd name="connsiteY2" fmla="*/ 971537 h 1966223"/>
                <a:gd name="connsiteX3" fmla="*/ 914656 w 1824662"/>
                <a:gd name="connsiteY3" fmla="*/ 1878442 h 1966223"/>
                <a:gd name="connsiteX4" fmla="*/ 7751 w 1824662"/>
                <a:gd name="connsiteY4" fmla="*/ 971537 h 1966223"/>
                <a:gd name="connsiteX0" fmla="*/ 7751 w 1832194"/>
                <a:gd name="connsiteY0" fmla="*/ 971537 h 1966223"/>
                <a:gd name="connsiteX1" fmla="*/ 914656 w 1832194"/>
                <a:gd name="connsiteY1" fmla="*/ 64632 h 1966223"/>
                <a:gd name="connsiteX2" fmla="*/ 1821561 w 1832194"/>
                <a:gd name="connsiteY2" fmla="*/ 971537 h 1966223"/>
                <a:gd name="connsiteX3" fmla="*/ 914656 w 1832194"/>
                <a:gd name="connsiteY3" fmla="*/ 1878442 h 1966223"/>
                <a:gd name="connsiteX4" fmla="*/ 7751 w 1832194"/>
                <a:gd name="connsiteY4" fmla="*/ 971537 h 1966223"/>
                <a:gd name="connsiteX0" fmla="*/ 7751 w 1832465"/>
                <a:gd name="connsiteY0" fmla="*/ 971537 h 1898104"/>
                <a:gd name="connsiteX1" fmla="*/ 914656 w 1832465"/>
                <a:gd name="connsiteY1" fmla="*/ 64632 h 1898104"/>
                <a:gd name="connsiteX2" fmla="*/ 1821561 w 1832465"/>
                <a:gd name="connsiteY2" fmla="*/ 971537 h 1898104"/>
                <a:gd name="connsiteX3" fmla="*/ 914656 w 1832465"/>
                <a:gd name="connsiteY3" fmla="*/ 1878442 h 1898104"/>
                <a:gd name="connsiteX4" fmla="*/ 7751 w 1832465"/>
                <a:gd name="connsiteY4" fmla="*/ 971537 h 1898104"/>
                <a:gd name="connsiteX0" fmla="*/ 8411 w 1833125"/>
                <a:gd name="connsiteY0" fmla="*/ 906906 h 1833473"/>
                <a:gd name="connsiteX1" fmla="*/ 915316 w 1833125"/>
                <a:gd name="connsiteY1" fmla="*/ 1 h 1833473"/>
                <a:gd name="connsiteX2" fmla="*/ 1822221 w 1833125"/>
                <a:gd name="connsiteY2" fmla="*/ 906906 h 1833473"/>
                <a:gd name="connsiteX3" fmla="*/ 915316 w 1833125"/>
                <a:gd name="connsiteY3" fmla="*/ 1813811 h 1833473"/>
                <a:gd name="connsiteX4" fmla="*/ 8411 w 1833125"/>
                <a:gd name="connsiteY4" fmla="*/ 906906 h 1833473"/>
                <a:gd name="connsiteX0" fmla="*/ 4901 w 1976845"/>
                <a:gd name="connsiteY0" fmla="*/ 967949 h 1815523"/>
                <a:gd name="connsiteX1" fmla="*/ 1061708 w 1976845"/>
                <a:gd name="connsiteY1" fmla="*/ 1083 h 1815523"/>
                <a:gd name="connsiteX2" fmla="*/ 1968613 w 1976845"/>
                <a:gd name="connsiteY2" fmla="*/ 907988 h 1815523"/>
                <a:gd name="connsiteX3" fmla="*/ 1061708 w 1976845"/>
                <a:gd name="connsiteY3" fmla="*/ 1814893 h 1815523"/>
                <a:gd name="connsiteX4" fmla="*/ 4901 w 1976845"/>
                <a:gd name="connsiteY4" fmla="*/ 967949 h 1815523"/>
                <a:gd name="connsiteX0" fmla="*/ 23322 w 1995266"/>
                <a:gd name="connsiteY0" fmla="*/ 967949 h 1815993"/>
                <a:gd name="connsiteX1" fmla="*/ 1080129 w 1995266"/>
                <a:gd name="connsiteY1" fmla="*/ 1083 h 1815993"/>
                <a:gd name="connsiteX2" fmla="*/ 1987034 w 1995266"/>
                <a:gd name="connsiteY2" fmla="*/ 907988 h 1815993"/>
                <a:gd name="connsiteX3" fmla="*/ 1080129 w 1995266"/>
                <a:gd name="connsiteY3" fmla="*/ 1814893 h 1815993"/>
                <a:gd name="connsiteX4" fmla="*/ 23322 w 1995266"/>
                <a:gd name="connsiteY4" fmla="*/ 967949 h 1815993"/>
                <a:gd name="connsiteX0" fmla="*/ 23322 w 2007075"/>
                <a:gd name="connsiteY0" fmla="*/ 967572 h 1815616"/>
                <a:gd name="connsiteX1" fmla="*/ 1080129 w 2007075"/>
                <a:gd name="connsiteY1" fmla="*/ 706 h 1815616"/>
                <a:gd name="connsiteX2" fmla="*/ 1987034 w 2007075"/>
                <a:gd name="connsiteY2" fmla="*/ 907611 h 1815616"/>
                <a:gd name="connsiteX3" fmla="*/ 1080129 w 2007075"/>
                <a:gd name="connsiteY3" fmla="*/ 1814516 h 1815616"/>
                <a:gd name="connsiteX4" fmla="*/ 23322 w 2007075"/>
                <a:gd name="connsiteY4" fmla="*/ 967572 h 1815616"/>
                <a:gd name="connsiteX0" fmla="*/ 1579 w 1966722"/>
                <a:gd name="connsiteY0" fmla="*/ 922024 h 1769099"/>
                <a:gd name="connsiteX1" fmla="*/ 848524 w 1966722"/>
                <a:gd name="connsiteY1" fmla="*/ 129 h 1769099"/>
                <a:gd name="connsiteX2" fmla="*/ 1965291 w 1966722"/>
                <a:gd name="connsiteY2" fmla="*/ 862063 h 1769099"/>
                <a:gd name="connsiteX3" fmla="*/ 1058386 w 1966722"/>
                <a:gd name="connsiteY3" fmla="*/ 1768968 h 1769099"/>
                <a:gd name="connsiteX4" fmla="*/ 1579 w 1966722"/>
                <a:gd name="connsiteY4" fmla="*/ 922024 h 1769099"/>
                <a:gd name="connsiteX0" fmla="*/ 6240 w 1971383"/>
                <a:gd name="connsiteY0" fmla="*/ 922024 h 1769099"/>
                <a:gd name="connsiteX1" fmla="*/ 853185 w 1971383"/>
                <a:gd name="connsiteY1" fmla="*/ 129 h 1769099"/>
                <a:gd name="connsiteX2" fmla="*/ 1969952 w 1971383"/>
                <a:gd name="connsiteY2" fmla="*/ 862063 h 1769099"/>
                <a:gd name="connsiteX3" fmla="*/ 1063047 w 1971383"/>
                <a:gd name="connsiteY3" fmla="*/ 1768968 h 1769099"/>
                <a:gd name="connsiteX4" fmla="*/ 6240 w 1971383"/>
                <a:gd name="connsiteY4" fmla="*/ 922024 h 1769099"/>
                <a:gd name="connsiteX0" fmla="*/ 6240 w 1972208"/>
                <a:gd name="connsiteY0" fmla="*/ 922024 h 1903473"/>
                <a:gd name="connsiteX1" fmla="*/ 853185 w 1972208"/>
                <a:gd name="connsiteY1" fmla="*/ 129 h 1903473"/>
                <a:gd name="connsiteX2" fmla="*/ 1969952 w 1972208"/>
                <a:gd name="connsiteY2" fmla="*/ 862063 h 1903473"/>
                <a:gd name="connsiteX3" fmla="*/ 1063047 w 1972208"/>
                <a:gd name="connsiteY3" fmla="*/ 1768968 h 1903473"/>
                <a:gd name="connsiteX4" fmla="*/ 6240 w 1972208"/>
                <a:gd name="connsiteY4" fmla="*/ 922024 h 1903473"/>
                <a:gd name="connsiteX0" fmla="*/ 6240 w 1972476"/>
                <a:gd name="connsiteY0" fmla="*/ 922024 h 1812102"/>
                <a:gd name="connsiteX1" fmla="*/ 853185 w 1972476"/>
                <a:gd name="connsiteY1" fmla="*/ 129 h 1812102"/>
                <a:gd name="connsiteX2" fmla="*/ 1969952 w 1972476"/>
                <a:gd name="connsiteY2" fmla="*/ 862063 h 1812102"/>
                <a:gd name="connsiteX3" fmla="*/ 1063047 w 1972476"/>
                <a:gd name="connsiteY3" fmla="*/ 1768968 h 1812102"/>
                <a:gd name="connsiteX4" fmla="*/ 6240 w 1972476"/>
                <a:gd name="connsiteY4" fmla="*/ 922024 h 181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476" h="1812102">
                  <a:moveTo>
                    <a:pt x="6240" y="922024"/>
                  </a:moveTo>
                  <a:cubicBezTo>
                    <a:pt x="-28737" y="627218"/>
                    <a:pt x="61205" y="10122"/>
                    <a:pt x="853185" y="129"/>
                  </a:cubicBezTo>
                  <a:cubicBezTo>
                    <a:pt x="1645165" y="-9864"/>
                    <a:pt x="1934975" y="567257"/>
                    <a:pt x="1969952" y="862063"/>
                  </a:cubicBezTo>
                  <a:cubicBezTo>
                    <a:pt x="2004929" y="1156869"/>
                    <a:pt x="1675145" y="1534122"/>
                    <a:pt x="1063047" y="1768968"/>
                  </a:cubicBezTo>
                  <a:cubicBezTo>
                    <a:pt x="450949" y="2003814"/>
                    <a:pt x="41217" y="1216830"/>
                    <a:pt x="6240" y="922024"/>
                  </a:cubicBez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riangle 10">
              <a:extLst>
                <a:ext uri="{FF2B5EF4-FFF2-40B4-BE49-F238E27FC236}">
                  <a16:creationId xmlns:a16="http://schemas.microsoft.com/office/drawing/2014/main" id="{CA192D43-DB43-B347-B247-19096253C4F6}"/>
                </a:ext>
              </a:extLst>
            </p:cNvPr>
            <p:cNvSpPr/>
            <p:nvPr userDrawn="1"/>
          </p:nvSpPr>
          <p:spPr>
            <a:xfrm rot="5400000">
              <a:off x="6327741" y="-2084615"/>
              <a:ext cx="667063" cy="58461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Rectangle 11">
            <a:extLst>
              <a:ext uri="{FF2B5EF4-FFF2-40B4-BE49-F238E27FC236}">
                <a16:creationId xmlns:a16="http://schemas.microsoft.com/office/drawing/2014/main" id="{0C692D20-59DC-274B-B23C-68E4B82F2232}"/>
              </a:ext>
            </a:extLst>
          </p:cNvPr>
          <p:cNvSpPr/>
          <p:nvPr userDrawn="1"/>
        </p:nvSpPr>
        <p:spPr>
          <a:xfrm>
            <a:off x="12594070" y="4538365"/>
            <a:ext cx="6096000" cy="646331"/>
          </a:xfrm>
          <a:prstGeom prst="rect">
            <a:avLst/>
          </a:prstGeom>
        </p:spPr>
        <p:txBody>
          <a:bodyPr>
            <a:spAutoFit/>
          </a:bodyPr>
          <a:lstStyle/>
          <a:p>
            <a:pPr lvl="0"/>
            <a:r>
              <a:rPr lang="en-US" dirty="0"/>
              <a:t>Please copy the play button from Master Layout to slide and add video hyperlink (right click &gt; Hyperlink…)</a:t>
            </a:r>
          </a:p>
        </p:txBody>
      </p:sp>
    </p:spTree>
    <p:extLst>
      <p:ext uri="{BB962C8B-B14F-4D97-AF65-F5344CB8AC3E}">
        <p14:creationId xmlns:p14="http://schemas.microsoft.com/office/powerpoint/2010/main" val="37327555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 Double Header &amp; Copy">
    <p:bg>
      <p:bgPr>
        <a:solidFill>
          <a:schemeClr val="tx2"/>
        </a:solidFill>
        <a:effectLst/>
      </p:bgPr>
    </p:bg>
    <p:spTree>
      <p:nvGrpSpPr>
        <p:cNvPr id="1" name=""/>
        <p:cNvGrpSpPr/>
        <p:nvPr/>
      </p:nvGrpSpPr>
      <p:grpSpPr>
        <a:xfrm>
          <a:off x="0" y="0"/>
          <a:ext cx="0" cy="0"/>
          <a:chOff x="0" y="0"/>
          <a:chExt cx="0" cy="0"/>
        </a:xfrm>
      </p:grpSpPr>
      <p:sp>
        <p:nvSpPr>
          <p:cNvPr id="13" name="Shape">
            <a:extLst>
              <a:ext uri="{FF2B5EF4-FFF2-40B4-BE49-F238E27FC236}">
                <a16:creationId xmlns:a16="http://schemas.microsoft.com/office/drawing/2014/main" id="{A5E78290-0A3D-9541-9B2E-F24E293233B6}"/>
              </a:ext>
            </a:extLst>
          </p:cNvPr>
          <p:cNvSpPr/>
          <p:nvPr userDrawn="1"/>
        </p:nvSpPr>
        <p:spPr>
          <a:xfrm>
            <a:off x="-24823" y="-3175"/>
            <a:ext cx="12210568" cy="6861175"/>
          </a:xfrm>
          <a:custGeom>
            <a:avLst/>
            <a:gdLst>
              <a:gd name="connsiteX0" fmla="*/ 18806 w 21600"/>
              <a:gd name="connsiteY0" fmla="*/ 0 h 21600"/>
              <a:gd name="connsiteX1" fmla="*/ 16008 w 21600"/>
              <a:gd name="connsiteY1" fmla="*/ 4498 h 21600"/>
              <a:gd name="connsiteX2" fmla="*/ 13141 w 21600"/>
              <a:gd name="connsiteY2" fmla="*/ 12620 h 21600"/>
              <a:gd name="connsiteX3" fmla="*/ 1929 w 21600"/>
              <a:gd name="connsiteY3" fmla="*/ 14792 h 21600"/>
              <a:gd name="connsiteX4" fmla="*/ 4 w 21600"/>
              <a:gd name="connsiteY4" fmla="*/ 18162 h 21600"/>
              <a:gd name="connsiteX5" fmla="*/ 0 w 21600"/>
              <a:gd name="connsiteY5" fmla="*/ 21581 h 21600"/>
              <a:gd name="connsiteX6" fmla="*/ 21593 w 21600"/>
              <a:gd name="connsiteY6" fmla="*/ 21594 h 21600"/>
              <a:gd name="connsiteX7" fmla="*/ 21597 w 21600"/>
              <a:gd name="connsiteY7" fmla="*/ 21597 h 21600"/>
              <a:gd name="connsiteX8" fmla="*/ 21600 w 21600"/>
              <a:gd name="connsiteY8" fmla="*/ 21600 h 21600"/>
              <a:gd name="connsiteX9" fmla="*/ 21600 w 21600"/>
              <a:gd name="connsiteY9" fmla="*/ 0 h 21600"/>
              <a:gd name="connsiteX10" fmla="*/ 18806 w 21600"/>
              <a:gd name="connsiteY10" fmla="*/ 0 h 21600"/>
              <a:gd name="connsiteX0" fmla="*/ 18806 w 21600"/>
              <a:gd name="connsiteY0" fmla="*/ 0 h 21600"/>
              <a:gd name="connsiteX1" fmla="*/ 16008 w 21600"/>
              <a:gd name="connsiteY1" fmla="*/ 4498 h 21600"/>
              <a:gd name="connsiteX2" fmla="*/ 13117 w 21600"/>
              <a:gd name="connsiteY2" fmla="*/ 12916 h 21600"/>
              <a:gd name="connsiteX3" fmla="*/ 1929 w 21600"/>
              <a:gd name="connsiteY3" fmla="*/ 14792 h 21600"/>
              <a:gd name="connsiteX4" fmla="*/ 4 w 21600"/>
              <a:gd name="connsiteY4" fmla="*/ 18162 h 21600"/>
              <a:gd name="connsiteX5" fmla="*/ 0 w 21600"/>
              <a:gd name="connsiteY5" fmla="*/ 21581 h 21600"/>
              <a:gd name="connsiteX6" fmla="*/ 21593 w 21600"/>
              <a:gd name="connsiteY6" fmla="*/ 21594 h 21600"/>
              <a:gd name="connsiteX7" fmla="*/ 21597 w 21600"/>
              <a:gd name="connsiteY7" fmla="*/ 21597 h 21600"/>
              <a:gd name="connsiteX8" fmla="*/ 21600 w 21600"/>
              <a:gd name="connsiteY8" fmla="*/ 21600 h 21600"/>
              <a:gd name="connsiteX9" fmla="*/ 21600 w 21600"/>
              <a:gd name="connsiteY9" fmla="*/ 0 h 21600"/>
              <a:gd name="connsiteX10" fmla="*/ 18806 w 21600"/>
              <a:gd name="connsiteY10" fmla="*/ 0 h 21600"/>
              <a:gd name="connsiteX0" fmla="*/ 18806 w 21600"/>
              <a:gd name="connsiteY0" fmla="*/ 0 h 21600"/>
              <a:gd name="connsiteX1" fmla="*/ 16008 w 21600"/>
              <a:gd name="connsiteY1" fmla="*/ 4498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6008 w 21600"/>
              <a:gd name="connsiteY1" fmla="*/ 4498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117 w 21600"/>
              <a:gd name="connsiteY2" fmla="*/ 12916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06 w 21600"/>
              <a:gd name="connsiteY0" fmla="*/ 0 h 21600"/>
              <a:gd name="connsiteX1" fmla="*/ 15984 w 21600"/>
              <a:gd name="connsiteY1" fmla="*/ 3905 h 21600"/>
              <a:gd name="connsiteX2" fmla="*/ 13093 w 21600"/>
              <a:gd name="connsiteY2" fmla="*/ 13805 h 21600"/>
              <a:gd name="connsiteX3" fmla="*/ 4 w 21600"/>
              <a:gd name="connsiteY3" fmla="*/ 18162 h 21600"/>
              <a:gd name="connsiteX4" fmla="*/ 0 w 21600"/>
              <a:gd name="connsiteY4" fmla="*/ 21581 h 21600"/>
              <a:gd name="connsiteX5" fmla="*/ 21593 w 21600"/>
              <a:gd name="connsiteY5" fmla="*/ 21594 h 21600"/>
              <a:gd name="connsiteX6" fmla="*/ 21597 w 21600"/>
              <a:gd name="connsiteY6" fmla="*/ 21597 h 21600"/>
              <a:gd name="connsiteX7" fmla="*/ 21600 w 21600"/>
              <a:gd name="connsiteY7" fmla="*/ 21600 h 21600"/>
              <a:gd name="connsiteX8" fmla="*/ 21600 w 21600"/>
              <a:gd name="connsiteY8" fmla="*/ 0 h 21600"/>
              <a:gd name="connsiteX9" fmla="*/ 18806 w 21600"/>
              <a:gd name="connsiteY9" fmla="*/ 0 h 21600"/>
              <a:gd name="connsiteX0" fmla="*/ 18850 w 21644"/>
              <a:gd name="connsiteY0" fmla="*/ 0 h 21600"/>
              <a:gd name="connsiteX1" fmla="*/ 16028 w 21644"/>
              <a:gd name="connsiteY1" fmla="*/ 3905 h 21600"/>
              <a:gd name="connsiteX2" fmla="*/ 13137 w 21644"/>
              <a:gd name="connsiteY2" fmla="*/ 13805 h 21600"/>
              <a:gd name="connsiteX3" fmla="*/ 0 w 21644"/>
              <a:gd name="connsiteY3" fmla="*/ 16765 h 21600"/>
              <a:gd name="connsiteX4" fmla="*/ 44 w 21644"/>
              <a:gd name="connsiteY4" fmla="*/ 21581 h 21600"/>
              <a:gd name="connsiteX5" fmla="*/ 21637 w 21644"/>
              <a:gd name="connsiteY5" fmla="*/ 21594 h 21600"/>
              <a:gd name="connsiteX6" fmla="*/ 21641 w 21644"/>
              <a:gd name="connsiteY6" fmla="*/ 21597 h 21600"/>
              <a:gd name="connsiteX7" fmla="*/ 21644 w 21644"/>
              <a:gd name="connsiteY7" fmla="*/ 21600 h 21600"/>
              <a:gd name="connsiteX8" fmla="*/ 21644 w 21644"/>
              <a:gd name="connsiteY8" fmla="*/ 0 h 21600"/>
              <a:gd name="connsiteX9" fmla="*/ 18850 w 21644"/>
              <a:gd name="connsiteY9"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44" h="21600" extrusionOk="0">
                <a:moveTo>
                  <a:pt x="18850" y="0"/>
                </a:moveTo>
                <a:cubicBezTo>
                  <a:pt x="17831" y="462"/>
                  <a:pt x="16742" y="1265"/>
                  <a:pt x="16028" y="3905"/>
                </a:cubicBezTo>
                <a:cubicBezTo>
                  <a:pt x="15314" y="6545"/>
                  <a:pt x="15808" y="11662"/>
                  <a:pt x="13137" y="13805"/>
                </a:cubicBezTo>
                <a:cubicBezTo>
                  <a:pt x="10466" y="15948"/>
                  <a:pt x="1137" y="8802"/>
                  <a:pt x="0" y="16765"/>
                </a:cubicBezTo>
                <a:cubicBezTo>
                  <a:pt x="-1" y="17905"/>
                  <a:pt x="45" y="20441"/>
                  <a:pt x="44" y="21581"/>
                </a:cubicBezTo>
                <a:lnTo>
                  <a:pt x="21637" y="21594"/>
                </a:lnTo>
                <a:cubicBezTo>
                  <a:pt x="21638" y="21595"/>
                  <a:pt x="21640" y="21596"/>
                  <a:pt x="21641" y="21597"/>
                </a:cubicBezTo>
                <a:lnTo>
                  <a:pt x="21644" y="21600"/>
                </a:lnTo>
                <a:lnTo>
                  <a:pt x="21644" y="0"/>
                </a:lnTo>
                <a:lnTo>
                  <a:pt x="18850" y="0"/>
                </a:lnTo>
                <a:close/>
              </a:path>
            </a:pathLst>
          </a:custGeom>
          <a:solidFill>
            <a:schemeClr val="bg2"/>
          </a:solidFill>
          <a:ln w="12700">
            <a:miter lim="400000"/>
          </a:ln>
          <a:effectLst>
            <a:outerShdw blurRad="127000" dist="38100" dir="13500000" algn="br" rotWithShape="0">
              <a:schemeClr val="tx2">
                <a:lumMod val="75000"/>
                <a:alpha val="50000"/>
              </a:schemeClr>
            </a:outerShdw>
          </a:effectLst>
        </p:spPr>
        <p:txBody>
          <a:bodyPr lIns="50800" tIns="50800" rIns="50800" bIns="50800" anchor="ctr"/>
          <a:lstStyle/>
          <a:p>
            <a:pPr algn="ctr" eaLnBrk="1" fontAlgn="auto">
              <a:spcBef>
                <a:spcPts val="0"/>
              </a:spcBef>
              <a:spcAft>
                <a:spcPts val="0"/>
              </a:spcAft>
              <a:defRPr>
                <a:solidFill>
                  <a:srgbClr val="FFFFFF"/>
                </a:solidFill>
              </a:defRPr>
            </a:pPr>
            <a:endParaRPr kern="0" dirty="0">
              <a:solidFill>
                <a:srgbClr val="FFFFFF"/>
              </a:solidFill>
              <a:latin typeface="+mn-lt"/>
              <a:ea typeface="+mn-ea"/>
              <a:cs typeface="+mn-cs"/>
              <a:sym typeface="Helvetica Neue Light"/>
            </a:endParaRPr>
          </a:p>
        </p:txBody>
      </p:sp>
      <p:sp>
        <p:nvSpPr>
          <p:cNvPr id="7" name="Text Placeholder 32">
            <a:extLst>
              <a:ext uri="{FF2B5EF4-FFF2-40B4-BE49-F238E27FC236}">
                <a16:creationId xmlns:a16="http://schemas.microsoft.com/office/drawing/2014/main" id="{3F00CF82-11FA-9D40-AA48-2D62362B6A74}"/>
              </a:ext>
            </a:extLst>
          </p:cNvPr>
          <p:cNvSpPr>
            <a:spLocks noGrp="1"/>
          </p:cNvSpPr>
          <p:nvPr>
            <p:ph type="body" sz="quarter" idx="12" hasCustomPrompt="1"/>
          </p:nvPr>
        </p:nvSpPr>
        <p:spPr>
          <a:xfrm>
            <a:off x="315000" y="544598"/>
            <a:ext cx="9438600" cy="702400"/>
          </a:xfrm>
        </p:spPr>
        <p:txBody>
          <a:bodyPr anchor="t">
            <a:normAutofit/>
          </a:bodyPr>
          <a:lstStyle>
            <a:lvl1pPr algn="l">
              <a:lnSpc>
                <a:spcPct val="100000"/>
              </a:lnSpc>
              <a:spcBef>
                <a:spcPts val="0"/>
              </a:spcBef>
              <a:spcAft>
                <a:spcPts val="600"/>
              </a:spcAft>
              <a:defRPr sz="40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8" name="Text Placeholder 32">
            <a:extLst>
              <a:ext uri="{FF2B5EF4-FFF2-40B4-BE49-F238E27FC236}">
                <a16:creationId xmlns:a16="http://schemas.microsoft.com/office/drawing/2014/main" id="{2C46D393-67F9-5E40-B3CC-D29B4F220F84}"/>
              </a:ext>
            </a:extLst>
          </p:cNvPr>
          <p:cNvSpPr>
            <a:spLocks noGrp="1"/>
          </p:cNvSpPr>
          <p:nvPr>
            <p:ph type="body" sz="quarter" idx="14" hasCustomPrompt="1"/>
          </p:nvPr>
        </p:nvSpPr>
        <p:spPr>
          <a:xfrm>
            <a:off x="315000" y="1157731"/>
            <a:ext cx="5412931" cy="2889833"/>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9" name="Shape">
            <a:extLst>
              <a:ext uri="{FF2B5EF4-FFF2-40B4-BE49-F238E27FC236}">
                <a16:creationId xmlns:a16="http://schemas.microsoft.com/office/drawing/2014/main" id="{BE429DD6-0CAC-1343-BB4D-E98A12B20325}"/>
              </a:ext>
            </a:extLst>
          </p:cNvPr>
          <p:cNvSpPr>
            <a:spLocks/>
          </p:cNvSpPr>
          <p:nvPr userDrawn="1"/>
        </p:nvSpPr>
        <p:spPr bwMode="auto">
          <a:xfrm rot="10800000">
            <a:off x="6157712" y="1157732"/>
            <a:ext cx="5321542" cy="4959350"/>
          </a:xfrm>
          <a:custGeom>
            <a:avLst/>
            <a:gdLst>
              <a:gd name="T0" fmla="*/ 6146445 w 21600"/>
              <a:gd name="T1" fmla="*/ 5727383 h 21560"/>
              <a:gd name="T2" fmla="*/ 6146445 w 21600"/>
              <a:gd name="T3" fmla="*/ 5727383 h 21560"/>
              <a:gd name="T4" fmla="*/ 6146445 w 21600"/>
              <a:gd name="T5" fmla="*/ 5727383 h 21560"/>
              <a:gd name="T6" fmla="*/ 6146445 w 21600"/>
              <a:gd name="T7" fmla="*/ 5727383 h 2156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60" extrusionOk="0">
                <a:moveTo>
                  <a:pt x="10614" y="2"/>
                </a:moveTo>
                <a:cubicBezTo>
                  <a:pt x="8214" y="42"/>
                  <a:pt x="5807" y="840"/>
                  <a:pt x="3797" y="2490"/>
                </a:cubicBezTo>
                <a:cubicBezTo>
                  <a:pt x="2726" y="3370"/>
                  <a:pt x="1830" y="4470"/>
                  <a:pt x="1160" y="5725"/>
                </a:cubicBezTo>
                <a:cubicBezTo>
                  <a:pt x="387" y="7027"/>
                  <a:pt x="0" y="8510"/>
                  <a:pt x="0" y="9992"/>
                </a:cubicBezTo>
                <a:cubicBezTo>
                  <a:pt x="0" y="11475"/>
                  <a:pt x="387" y="12957"/>
                  <a:pt x="1160" y="14259"/>
                </a:cubicBezTo>
                <a:cubicBezTo>
                  <a:pt x="1948" y="15512"/>
                  <a:pt x="3019" y="16659"/>
                  <a:pt x="3797" y="17493"/>
                </a:cubicBezTo>
                <a:cubicBezTo>
                  <a:pt x="4575" y="18326"/>
                  <a:pt x="5646" y="19473"/>
                  <a:pt x="6816" y="20317"/>
                </a:cubicBezTo>
                <a:cubicBezTo>
                  <a:pt x="8031" y="21146"/>
                  <a:pt x="9415" y="21560"/>
                  <a:pt x="10799" y="21560"/>
                </a:cubicBezTo>
                <a:cubicBezTo>
                  <a:pt x="12183" y="21560"/>
                  <a:pt x="13567" y="21146"/>
                  <a:pt x="14783" y="20317"/>
                </a:cubicBezTo>
                <a:cubicBezTo>
                  <a:pt x="15952" y="19473"/>
                  <a:pt x="17025" y="18326"/>
                  <a:pt x="17803" y="17493"/>
                </a:cubicBezTo>
                <a:cubicBezTo>
                  <a:pt x="18581" y="16659"/>
                  <a:pt x="19652" y="15512"/>
                  <a:pt x="20440" y="14259"/>
                </a:cubicBezTo>
                <a:cubicBezTo>
                  <a:pt x="21213" y="12957"/>
                  <a:pt x="21600" y="11475"/>
                  <a:pt x="21600" y="9992"/>
                </a:cubicBezTo>
                <a:cubicBezTo>
                  <a:pt x="21600" y="8510"/>
                  <a:pt x="21213" y="7027"/>
                  <a:pt x="20440" y="5725"/>
                </a:cubicBezTo>
                <a:cubicBezTo>
                  <a:pt x="19770" y="4470"/>
                  <a:pt x="18874" y="3370"/>
                  <a:pt x="17803" y="2490"/>
                </a:cubicBezTo>
                <a:cubicBezTo>
                  <a:pt x="15690" y="754"/>
                  <a:pt x="13139" y="-40"/>
                  <a:pt x="10614" y="2"/>
                </a:cubicBezTo>
                <a:close/>
              </a:path>
            </a:pathLst>
          </a:custGeom>
          <a:solidFill>
            <a:schemeClr val="bg2"/>
          </a:solidFill>
          <a:ln>
            <a:noFill/>
          </a:ln>
          <a:effectLst>
            <a:outerShdw blurRad="127000" algn="ctr" rotWithShape="0">
              <a:schemeClr val="tx2">
                <a:lumMod val="75000"/>
                <a:alpha val="50000"/>
              </a:schemeClr>
            </a:outerShdw>
          </a:effectLst>
        </p:spPr>
        <p:txBody>
          <a:bodyPr lIns="50800" tIns="50800" rIns="50800" bIns="50800" anchor="ctr"/>
          <a:lstStyle/>
          <a:p>
            <a:endParaRPr lang="en-US" dirty="0">
              <a:solidFill>
                <a:schemeClr val="bg2"/>
              </a:solidFill>
            </a:endParaRPr>
          </a:p>
        </p:txBody>
      </p:sp>
      <p:sp>
        <p:nvSpPr>
          <p:cNvPr id="10" name="Freeform: Shape 5">
            <a:extLst>
              <a:ext uri="{FF2B5EF4-FFF2-40B4-BE49-F238E27FC236}">
                <a16:creationId xmlns:a16="http://schemas.microsoft.com/office/drawing/2014/main" id="{67BCCF43-2334-904A-8705-8F1661CE077C}"/>
              </a:ext>
            </a:extLst>
          </p:cNvPr>
          <p:cNvSpPr>
            <a:spLocks noGrp="1"/>
          </p:cNvSpPr>
          <p:nvPr>
            <p:ph type="pic" sz="half" idx="13"/>
          </p:nvPr>
        </p:nvSpPr>
        <p:spPr>
          <a:xfrm>
            <a:off x="6474941" y="1568660"/>
            <a:ext cx="4687085" cy="4367438"/>
          </a:xfrm>
          <a:custGeom>
            <a:avLst/>
            <a:gdLst>
              <a:gd name="connsiteX0" fmla="*/ 5320025 w 10826505"/>
              <a:gd name="connsiteY0" fmla="*/ 740 h 10088166"/>
              <a:gd name="connsiteX1" fmla="*/ 8923347 w 10826505"/>
              <a:gd name="connsiteY1" fmla="*/ 1164926 h 10088166"/>
              <a:gd name="connsiteX2" fmla="*/ 10245083 w 10826505"/>
              <a:gd name="connsiteY2" fmla="*/ 2678648 h 10088166"/>
              <a:gd name="connsiteX3" fmla="*/ 10826505 w 10826505"/>
              <a:gd name="connsiteY3" fmla="*/ 4675264 h 10088166"/>
              <a:gd name="connsiteX4" fmla="*/ 10245083 w 10826505"/>
              <a:gd name="connsiteY4" fmla="*/ 6671880 h 10088166"/>
              <a:gd name="connsiteX5" fmla="*/ 8923347 w 10826505"/>
              <a:gd name="connsiteY5" fmla="*/ 8185134 h 10088166"/>
              <a:gd name="connsiteX6" fmla="*/ 7409641 w 10826505"/>
              <a:gd name="connsiteY6" fmla="*/ 9506541 h 10088166"/>
              <a:gd name="connsiteX7" fmla="*/ 5412753 w 10826505"/>
              <a:gd name="connsiteY7" fmla="*/ 10088166 h 10088166"/>
              <a:gd name="connsiteX8" fmla="*/ 3416364 w 10826505"/>
              <a:gd name="connsiteY8" fmla="*/ 9506541 h 10088166"/>
              <a:gd name="connsiteX9" fmla="*/ 1903159 w 10826505"/>
              <a:gd name="connsiteY9" fmla="*/ 8185134 h 10088166"/>
              <a:gd name="connsiteX10" fmla="*/ 581423 w 10826505"/>
              <a:gd name="connsiteY10" fmla="*/ 6671880 h 10088166"/>
              <a:gd name="connsiteX11" fmla="*/ 0 w 10826505"/>
              <a:gd name="connsiteY11" fmla="*/ 4675264 h 10088166"/>
              <a:gd name="connsiteX12" fmla="*/ 581423 w 10826505"/>
              <a:gd name="connsiteY12" fmla="*/ 2678648 h 10088166"/>
              <a:gd name="connsiteX13" fmla="*/ 1903159 w 10826505"/>
              <a:gd name="connsiteY13" fmla="*/ 1164926 h 10088166"/>
              <a:gd name="connsiteX14" fmla="*/ 5320025 w 10826505"/>
              <a:gd name="connsiteY14" fmla="*/ 740 h 1008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26505" h="10088166">
                <a:moveTo>
                  <a:pt x="5320025" y="740"/>
                </a:moveTo>
                <a:cubicBezTo>
                  <a:pt x="6585623" y="-18913"/>
                  <a:pt x="7864253" y="352616"/>
                  <a:pt x="8923347" y="1164926"/>
                </a:cubicBezTo>
                <a:cubicBezTo>
                  <a:pt x="9460161" y="1576696"/>
                  <a:pt x="9909261" y="2091408"/>
                  <a:pt x="10245083" y="2678648"/>
                </a:cubicBezTo>
                <a:cubicBezTo>
                  <a:pt x="10632531" y="3287880"/>
                  <a:pt x="10826505" y="3981806"/>
                  <a:pt x="10826505" y="4675264"/>
                </a:cubicBezTo>
                <a:cubicBezTo>
                  <a:pt x="10826505" y="5369190"/>
                  <a:pt x="10632531" y="6062648"/>
                  <a:pt x="10245083" y="6671880"/>
                </a:cubicBezTo>
                <a:cubicBezTo>
                  <a:pt x="9850117" y="7258184"/>
                  <a:pt x="9313301" y="7794889"/>
                  <a:pt x="8923347" y="8185134"/>
                </a:cubicBezTo>
                <a:cubicBezTo>
                  <a:pt x="8533393" y="8574912"/>
                  <a:pt x="7995575" y="9111616"/>
                  <a:pt x="7409641" y="9506541"/>
                </a:cubicBezTo>
                <a:cubicBezTo>
                  <a:pt x="6800149" y="9894447"/>
                  <a:pt x="6106449" y="10088166"/>
                  <a:pt x="5412753" y="10088166"/>
                </a:cubicBezTo>
                <a:cubicBezTo>
                  <a:pt x="4719053" y="10088166"/>
                  <a:pt x="4025355" y="9894447"/>
                  <a:pt x="3416364" y="9506541"/>
                </a:cubicBezTo>
                <a:cubicBezTo>
                  <a:pt x="2829928" y="9111616"/>
                  <a:pt x="2293114" y="8574912"/>
                  <a:pt x="1903159" y="8185134"/>
                </a:cubicBezTo>
                <a:cubicBezTo>
                  <a:pt x="1513205" y="7794889"/>
                  <a:pt x="976390" y="7258184"/>
                  <a:pt x="581423" y="6671880"/>
                </a:cubicBezTo>
                <a:cubicBezTo>
                  <a:pt x="193975" y="6062648"/>
                  <a:pt x="0" y="5369190"/>
                  <a:pt x="0" y="4675264"/>
                </a:cubicBezTo>
                <a:cubicBezTo>
                  <a:pt x="0" y="3981806"/>
                  <a:pt x="193975" y="3287880"/>
                  <a:pt x="581423" y="2678648"/>
                </a:cubicBezTo>
                <a:cubicBezTo>
                  <a:pt x="917246" y="2091408"/>
                  <a:pt x="1366345" y="1576696"/>
                  <a:pt x="1903159" y="1164926"/>
                </a:cubicBezTo>
                <a:cubicBezTo>
                  <a:pt x="2910626" y="392857"/>
                  <a:pt x="4117080" y="19457"/>
                  <a:pt x="5320025" y="740"/>
                </a:cubicBezTo>
                <a:close/>
              </a:path>
            </a:pathLst>
          </a:custGeom>
          <a:pattFill prst="pct90">
            <a:fgClr>
              <a:schemeClr val="tx2"/>
            </a:fgClr>
            <a:bgClr>
              <a:schemeClr val="accent1"/>
            </a:bgClr>
          </a:patt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11" name="Text Placeholder 32">
            <a:extLst>
              <a:ext uri="{FF2B5EF4-FFF2-40B4-BE49-F238E27FC236}">
                <a16:creationId xmlns:a16="http://schemas.microsoft.com/office/drawing/2014/main" id="{5032F442-EB9E-9045-B2C9-A396CB078151}"/>
              </a:ext>
            </a:extLst>
          </p:cNvPr>
          <p:cNvSpPr>
            <a:spLocks noGrp="1"/>
          </p:cNvSpPr>
          <p:nvPr>
            <p:ph type="body" sz="quarter" idx="15" hasCustomPrompt="1"/>
          </p:nvPr>
        </p:nvSpPr>
        <p:spPr>
          <a:xfrm>
            <a:off x="858692" y="4358659"/>
            <a:ext cx="4824354" cy="413576"/>
          </a:xfrm>
        </p:spPr>
        <p:txBody>
          <a:bodyPr anchor="b">
            <a:normAutofit/>
          </a:bodyPr>
          <a:lstStyle>
            <a:lvl1pPr>
              <a:lnSpc>
                <a:spcPct val="100000"/>
              </a:lnSpc>
              <a:spcBef>
                <a:spcPts val="0"/>
              </a:spcBef>
              <a:spcAft>
                <a:spcPts val="600"/>
              </a:spcAft>
              <a:defRPr sz="1800" b="1" spc="300">
                <a:solidFill>
                  <a:schemeClr val="bg1"/>
                </a:solidFill>
              </a:defRPr>
            </a:lvl1pPr>
            <a:lvl2pPr>
              <a:defRPr sz="2000" b="1"/>
            </a:lvl2pPr>
            <a:lvl3pPr>
              <a:defRPr sz="2000" b="1"/>
            </a:lvl3pPr>
            <a:lvl4pPr>
              <a:defRPr sz="2000" b="1"/>
            </a:lvl4pPr>
            <a:lvl5pPr>
              <a:defRPr sz="2000" b="1"/>
            </a:lvl5pPr>
          </a:lstStyle>
          <a:p>
            <a:pPr lvl="0"/>
            <a:r>
              <a:rPr lang="en-US"/>
              <a:t>SUBHEADER</a:t>
            </a:r>
          </a:p>
        </p:txBody>
      </p:sp>
      <p:sp>
        <p:nvSpPr>
          <p:cNvPr id="12" name="Text Placeholder 32">
            <a:extLst>
              <a:ext uri="{FF2B5EF4-FFF2-40B4-BE49-F238E27FC236}">
                <a16:creationId xmlns:a16="http://schemas.microsoft.com/office/drawing/2014/main" id="{D87F2E22-8907-F647-9049-9D0D56F90B21}"/>
              </a:ext>
            </a:extLst>
          </p:cNvPr>
          <p:cNvSpPr>
            <a:spLocks noGrp="1"/>
          </p:cNvSpPr>
          <p:nvPr>
            <p:ph type="body" sz="quarter" idx="16" hasCustomPrompt="1"/>
          </p:nvPr>
        </p:nvSpPr>
        <p:spPr>
          <a:xfrm>
            <a:off x="858691" y="4797993"/>
            <a:ext cx="5175597" cy="1558357"/>
          </a:xfrm>
        </p:spPr>
        <p:txBody>
          <a:bodyPr anchor="t">
            <a:normAutofit/>
          </a:bodyPr>
          <a:lstStyle>
            <a:lvl1pPr>
              <a:lnSpc>
                <a:spcPct val="100000"/>
              </a:lnSpc>
              <a:spcBef>
                <a:spcPts val="0"/>
              </a:spcBef>
              <a:spcAft>
                <a:spcPts val="600"/>
              </a:spcAft>
              <a:buFont typeface="Arial" panose="020B0604020202020204" pitchFamily="34" charset="0"/>
              <a:buNone/>
              <a:defRPr sz="16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pic>
        <p:nvPicPr>
          <p:cNvPr id="15" name="Picture 14">
            <a:extLst>
              <a:ext uri="{FF2B5EF4-FFF2-40B4-BE49-F238E27FC236}">
                <a16:creationId xmlns:a16="http://schemas.microsoft.com/office/drawing/2014/main" id="{6BDD5434-54A2-6A40-96D9-E2CBC86D1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4" name="Slide Number Placeholder 8">
            <a:extLst>
              <a:ext uri="{FF2B5EF4-FFF2-40B4-BE49-F238E27FC236}">
                <a16:creationId xmlns:a16="http://schemas.microsoft.com/office/drawing/2014/main" id="{B673985C-EA0E-C643-BCC7-BC3B11B15331}"/>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40835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1" name="Oval 1">
            <a:extLst>
              <a:ext uri="{FF2B5EF4-FFF2-40B4-BE49-F238E27FC236}">
                <a16:creationId xmlns:a16="http://schemas.microsoft.com/office/drawing/2014/main" id="{0E365B36-5093-3F47-9B5E-676A3E044C3E}"/>
              </a:ext>
            </a:extLst>
          </p:cNvPr>
          <p:cNvSpPr/>
          <p:nvPr userDrawn="1"/>
        </p:nvSpPr>
        <p:spPr>
          <a:xfrm>
            <a:off x="2678523" y="618618"/>
            <a:ext cx="6834951" cy="5620764"/>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tx2"/>
          </a:solidFill>
          <a:ln>
            <a:noFill/>
          </a:ln>
          <a:effectLst>
            <a:outerShdw blurRad="1905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8">
            <a:extLst>
              <a:ext uri="{FF2B5EF4-FFF2-40B4-BE49-F238E27FC236}">
                <a16:creationId xmlns:a16="http://schemas.microsoft.com/office/drawing/2014/main" id="{C92CBCFA-3E98-3A43-9E8B-0D9DC35FAE58}"/>
              </a:ext>
            </a:extLst>
          </p:cNvPr>
          <p:cNvSpPr>
            <a:spLocks noGrp="1"/>
          </p:cNvSpPr>
          <p:nvPr>
            <p:ph type="body" sz="quarter" idx="13" hasCustomPrompt="1"/>
          </p:nvPr>
        </p:nvSpPr>
        <p:spPr>
          <a:xfrm>
            <a:off x="2828076" y="4096047"/>
            <a:ext cx="6535849" cy="307777"/>
          </a:xfrm>
        </p:spPr>
        <p:txBody>
          <a:bodyPr wrap="square">
            <a:spAutoFit/>
          </a:bodyPr>
          <a:lstStyle>
            <a:lvl1pPr algn="ctr">
              <a:defRPr sz="1400" b="0" i="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Location | Date</a:t>
            </a:r>
          </a:p>
        </p:txBody>
      </p:sp>
      <p:sp>
        <p:nvSpPr>
          <p:cNvPr id="23" name="Text Placeholder 8">
            <a:extLst>
              <a:ext uri="{FF2B5EF4-FFF2-40B4-BE49-F238E27FC236}">
                <a16:creationId xmlns:a16="http://schemas.microsoft.com/office/drawing/2014/main" id="{666C88E6-39E2-7944-AFFF-B9CAA96B9634}"/>
              </a:ext>
            </a:extLst>
          </p:cNvPr>
          <p:cNvSpPr>
            <a:spLocks noGrp="1"/>
          </p:cNvSpPr>
          <p:nvPr>
            <p:ph type="body" sz="quarter" idx="14" hasCustomPrompt="1"/>
          </p:nvPr>
        </p:nvSpPr>
        <p:spPr>
          <a:xfrm>
            <a:off x="2828076" y="3638412"/>
            <a:ext cx="6535849" cy="400110"/>
          </a:xfrm>
        </p:spPr>
        <p:txBody>
          <a:bodyPr wrap="square">
            <a:spAutoFit/>
          </a:bodyPr>
          <a:lstStyle>
            <a:lvl1pPr algn="ctr">
              <a:defRPr sz="2000" b="1" i="0" spc="30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SUBHEADER</a:t>
            </a:r>
          </a:p>
        </p:txBody>
      </p:sp>
      <p:pic>
        <p:nvPicPr>
          <p:cNvPr id="15" name="Picture 14">
            <a:extLst>
              <a:ext uri="{FF2B5EF4-FFF2-40B4-BE49-F238E27FC236}">
                <a16:creationId xmlns:a16="http://schemas.microsoft.com/office/drawing/2014/main" id="{C3DBEA0E-6107-5C48-A772-E5732D132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23201" y="1982718"/>
            <a:ext cx="1545597" cy="804342"/>
          </a:xfrm>
          <a:prstGeom prst="rect">
            <a:avLst/>
          </a:prstGeom>
        </p:spPr>
      </p:pic>
      <p:sp>
        <p:nvSpPr>
          <p:cNvPr id="3" name="Title 2">
            <a:extLst>
              <a:ext uri="{FF2B5EF4-FFF2-40B4-BE49-F238E27FC236}">
                <a16:creationId xmlns:a16="http://schemas.microsoft.com/office/drawing/2014/main" id="{D7309ADE-FED6-A847-BEBE-5E668F1006A7}"/>
              </a:ext>
            </a:extLst>
          </p:cNvPr>
          <p:cNvSpPr>
            <a:spLocks noGrp="1"/>
          </p:cNvSpPr>
          <p:nvPr>
            <p:ph type="title" hasCustomPrompt="1"/>
          </p:nvPr>
        </p:nvSpPr>
        <p:spPr>
          <a:xfrm>
            <a:off x="2372132" y="2831087"/>
            <a:ext cx="7447732" cy="823070"/>
          </a:xfrm>
        </p:spPr>
        <p:txBody>
          <a:bodyPr anchor="b"/>
          <a:lstStyle>
            <a:lvl1pPr algn="ctr">
              <a:defRPr/>
            </a:lvl1pPr>
          </a:lstStyle>
          <a:p>
            <a:r>
              <a:rPr lang="en-US"/>
              <a:t>Title of Presentation</a:t>
            </a:r>
          </a:p>
        </p:txBody>
      </p:sp>
      <p:sp>
        <p:nvSpPr>
          <p:cNvPr id="14" name="Slide Number Placeholder 8">
            <a:extLst>
              <a:ext uri="{FF2B5EF4-FFF2-40B4-BE49-F238E27FC236}">
                <a16:creationId xmlns:a16="http://schemas.microsoft.com/office/drawing/2014/main" id="{D26003A1-0A55-A245-9ABC-83E34DAE4364}"/>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28" name="Picture Placeholder 27">
            <a:extLst>
              <a:ext uri="{FF2B5EF4-FFF2-40B4-BE49-F238E27FC236}">
                <a16:creationId xmlns:a16="http://schemas.microsoft.com/office/drawing/2014/main" id="{0D8120D0-706A-F94A-89E4-1896F64495AE}"/>
              </a:ext>
            </a:extLst>
          </p:cNvPr>
          <p:cNvSpPr>
            <a:spLocks noGrp="1"/>
          </p:cNvSpPr>
          <p:nvPr>
            <p:ph type="pic" sz="quarter" idx="15" hasCustomPrompt="1"/>
          </p:nvPr>
        </p:nvSpPr>
        <p:spPr>
          <a:xfrm>
            <a:off x="0" y="0"/>
            <a:ext cx="12192000" cy="6858000"/>
          </a:xfrm>
          <a:custGeom>
            <a:avLst/>
            <a:gdLst>
              <a:gd name="connsiteX0" fmla="*/ 5456252 w 12192000"/>
              <a:gd name="connsiteY0" fmla="*/ 3607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456252 w 12192000"/>
              <a:gd name="connsiteY4" fmla="*/ 3607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0" fmla="*/ 5269985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269985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269985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269985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420533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08651 w 12192000"/>
              <a:gd name="connsiteY0" fmla="*/ 411536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08651 w 12192000"/>
              <a:gd name="connsiteY4" fmla="*/ 411536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49115 w 12192000"/>
              <a:gd name="connsiteY1" fmla="*/ 3420533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43269 w 12192000"/>
              <a:gd name="connsiteY3" fmla="*/ 35560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335866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32181 w 12192000"/>
              <a:gd name="connsiteY1" fmla="*/ 3488266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15248 w 12192000"/>
              <a:gd name="connsiteY1" fmla="*/ 3403599 h 6858000"/>
              <a:gd name="connsiteX2" fmla="*/ 5594618 w 12192000"/>
              <a:gd name="connsiteY2" fmla="*/ 6497264 h 6858000"/>
              <a:gd name="connsiteX3" fmla="*/ 9760202 w 12192000"/>
              <a:gd name="connsiteY3" fmla="*/ 3386666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 name="connsiteX0" fmla="*/ 5642518 w 12192000"/>
              <a:gd name="connsiteY0" fmla="*/ 428469 h 6858000"/>
              <a:gd name="connsiteX1" fmla="*/ 2415248 w 12192000"/>
              <a:gd name="connsiteY1" fmla="*/ 3403599 h 6858000"/>
              <a:gd name="connsiteX2" fmla="*/ 5594618 w 12192000"/>
              <a:gd name="connsiteY2" fmla="*/ 6497264 h 6858000"/>
              <a:gd name="connsiteX3" fmla="*/ 9760202 w 12192000"/>
              <a:gd name="connsiteY3" fmla="*/ 3505200 h 6858000"/>
              <a:gd name="connsiteX4" fmla="*/ 5642518 w 12192000"/>
              <a:gd name="connsiteY4" fmla="*/ 428469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5642518" y="428469"/>
                </a:moveTo>
                <a:cubicBezTo>
                  <a:pt x="4418359" y="411536"/>
                  <a:pt x="2304698" y="1291467"/>
                  <a:pt x="2415248" y="3403599"/>
                </a:cubicBezTo>
                <a:cubicBezTo>
                  <a:pt x="2525798" y="5515731"/>
                  <a:pt x="4370459" y="6480331"/>
                  <a:pt x="5594618" y="6497264"/>
                </a:cubicBezTo>
                <a:cubicBezTo>
                  <a:pt x="6818777" y="6514198"/>
                  <a:pt x="9633685" y="5803599"/>
                  <a:pt x="9760202" y="3505200"/>
                </a:cubicBezTo>
                <a:cubicBezTo>
                  <a:pt x="9886719" y="1206801"/>
                  <a:pt x="6866677" y="445403"/>
                  <a:pt x="5642518" y="428469"/>
                </a:cubicBezTo>
                <a:close/>
                <a:moveTo>
                  <a:pt x="0" y="0"/>
                </a:moveTo>
                <a:lnTo>
                  <a:pt x="12192000" y="0"/>
                </a:lnTo>
                <a:lnTo>
                  <a:pt x="12192000" y="6858000"/>
                </a:lnTo>
                <a:lnTo>
                  <a:pt x="0" y="6858000"/>
                </a:lnTo>
                <a:lnTo>
                  <a:pt x="0" y="0"/>
                </a:lnTo>
                <a:close/>
              </a:path>
            </a:pathLst>
          </a:custGeom>
        </p:spPr>
        <p:txBody>
          <a:bodyPr wrap="square">
            <a:noAutofit/>
          </a:bodyPr>
          <a:lstStyle/>
          <a:p>
            <a:r>
              <a:rPr lang="en-US" dirty="0"/>
              <a:t>Insert picture -&gt;send to back</a:t>
            </a:r>
          </a:p>
        </p:txBody>
      </p:sp>
    </p:spTree>
    <p:extLst>
      <p:ext uri="{BB962C8B-B14F-4D97-AF65-F5344CB8AC3E}">
        <p14:creationId xmlns:p14="http://schemas.microsoft.com/office/powerpoint/2010/main" val="35033341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 Headline &amp; Cop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988FC-BF77-9543-A25A-A1C3E1D00790}"/>
              </a:ext>
            </a:extLst>
          </p:cNvPr>
          <p:cNvSpPr>
            <a:spLocks noGrp="1"/>
          </p:cNvSpPr>
          <p:nvPr>
            <p:ph type="title" hasCustomPrompt="1"/>
          </p:nvPr>
        </p:nvSpPr>
        <p:spPr>
          <a:xfrm>
            <a:off x="5078350" y="253111"/>
            <a:ext cx="5165731" cy="1325563"/>
          </a:xfrm>
        </p:spPr>
        <p:txBody>
          <a:bodyPr anchor="b"/>
          <a:lstStyle>
            <a:lvl1pPr>
              <a:defRPr>
                <a:solidFill>
                  <a:schemeClr val="accent4"/>
                </a:solidFill>
              </a:defRPr>
            </a:lvl1pPr>
          </a:lstStyle>
          <a:p>
            <a:r>
              <a:rPr lang="en-US"/>
              <a:t>HEADLINE</a:t>
            </a:r>
          </a:p>
        </p:txBody>
      </p:sp>
      <p:pic>
        <p:nvPicPr>
          <p:cNvPr id="7" name="Picture 6">
            <a:extLst>
              <a:ext uri="{FF2B5EF4-FFF2-40B4-BE49-F238E27FC236}">
                <a16:creationId xmlns:a16="http://schemas.microsoft.com/office/drawing/2014/main" id="{4998B8E1-742D-644A-8E97-DB68766D10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3" name="Picture Placeholder 12">
            <a:extLst>
              <a:ext uri="{FF2B5EF4-FFF2-40B4-BE49-F238E27FC236}">
                <a16:creationId xmlns:a16="http://schemas.microsoft.com/office/drawing/2014/main" id="{93DAC0F7-1848-C949-B772-44C476C42DD3}"/>
              </a:ext>
            </a:extLst>
          </p:cNvPr>
          <p:cNvSpPr>
            <a:spLocks noGrp="1"/>
          </p:cNvSpPr>
          <p:nvPr>
            <p:ph type="pic" sz="quarter" idx="11"/>
          </p:nvPr>
        </p:nvSpPr>
        <p:spPr>
          <a:xfrm>
            <a:off x="656166" y="722765"/>
            <a:ext cx="4299997" cy="5816147"/>
          </a:xfrm>
          <a:custGeom>
            <a:avLst/>
            <a:gdLst>
              <a:gd name="connsiteX0" fmla="*/ 0 w 5326063"/>
              <a:gd name="connsiteY0" fmla="*/ 2663825 h 5327650"/>
              <a:gd name="connsiteX1" fmla="*/ 2663032 w 5326063"/>
              <a:gd name="connsiteY1" fmla="*/ 0 h 5327650"/>
              <a:gd name="connsiteX2" fmla="*/ 5326063 w 5326063"/>
              <a:gd name="connsiteY2" fmla="*/ 2663825 h 5327650"/>
              <a:gd name="connsiteX3" fmla="*/ 2663032 w 5326063"/>
              <a:gd name="connsiteY3" fmla="*/ 5327650 h 5327650"/>
              <a:gd name="connsiteX4" fmla="*/ 0 w 5326063"/>
              <a:gd name="connsiteY4" fmla="*/ 2663825 h 5327650"/>
              <a:gd name="connsiteX0" fmla="*/ 0 w 5326063"/>
              <a:gd name="connsiteY0" fmla="*/ 2673412 h 5337237"/>
              <a:gd name="connsiteX1" fmla="*/ 2663032 w 5326063"/>
              <a:gd name="connsiteY1" fmla="*/ 9587 h 5337237"/>
              <a:gd name="connsiteX2" fmla="*/ 5326063 w 5326063"/>
              <a:gd name="connsiteY2" fmla="*/ 2673412 h 5337237"/>
              <a:gd name="connsiteX3" fmla="*/ 2663032 w 5326063"/>
              <a:gd name="connsiteY3" fmla="*/ 5337237 h 5337237"/>
              <a:gd name="connsiteX4" fmla="*/ 0 w 5326063"/>
              <a:gd name="connsiteY4" fmla="*/ 2673412 h 5337237"/>
              <a:gd name="connsiteX0" fmla="*/ 0 w 5327307"/>
              <a:gd name="connsiteY0" fmla="*/ 2673412 h 5337237"/>
              <a:gd name="connsiteX1" fmla="*/ 2663032 w 5327307"/>
              <a:gd name="connsiteY1" fmla="*/ 9587 h 5337237"/>
              <a:gd name="connsiteX2" fmla="*/ 5326063 w 5327307"/>
              <a:gd name="connsiteY2" fmla="*/ 2673412 h 5337237"/>
              <a:gd name="connsiteX3" fmla="*/ 2663032 w 5327307"/>
              <a:gd name="connsiteY3" fmla="*/ 5337237 h 5337237"/>
              <a:gd name="connsiteX4" fmla="*/ 0 w 5327307"/>
              <a:gd name="connsiteY4" fmla="*/ 2673412 h 5337237"/>
              <a:gd name="connsiteX0" fmla="*/ 0 w 5327533"/>
              <a:gd name="connsiteY0" fmla="*/ 2673412 h 5367905"/>
              <a:gd name="connsiteX1" fmla="*/ 2663032 w 5327533"/>
              <a:gd name="connsiteY1" fmla="*/ 9587 h 5367905"/>
              <a:gd name="connsiteX2" fmla="*/ 5326063 w 5327533"/>
              <a:gd name="connsiteY2" fmla="*/ 2673412 h 5367905"/>
              <a:gd name="connsiteX3" fmla="*/ 2663032 w 5327533"/>
              <a:gd name="connsiteY3" fmla="*/ 5337237 h 5367905"/>
              <a:gd name="connsiteX4" fmla="*/ 0 w 5327533"/>
              <a:gd name="connsiteY4" fmla="*/ 2673412 h 5367905"/>
              <a:gd name="connsiteX0" fmla="*/ 122147 w 5449680"/>
              <a:gd name="connsiteY0" fmla="*/ 2677415 h 5382558"/>
              <a:gd name="connsiteX1" fmla="*/ 2785179 w 5449680"/>
              <a:gd name="connsiteY1" fmla="*/ 13590 h 5382558"/>
              <a:gd name="connsiteX2" fmla="*/ 5448210 w 5449680"/>
              <a:gd name="connsiteY2" fmla="*/ 2677415 h 5382558"/>
              <a:gd name="connsiteX3" fmla="*/ 2785179 w 5449680"/>
              <a:gd name="connsiteY3" fmla="*/ 5341240 h 5382558"/>
              <a:gd name="connsiteX4" fmla="*/ 122147 w 5449680"/>
              <a:gd name="connsiteY4" fmla="*/ 2677415 h 5382558"/>
              <a:gd name="connsiteX0" fmla="*/ 105750 w 4562985"/>
              <a:gd name="connsiteY0" fmla="*/ 2664646 h 5328652"/>
              <a:gd name="connsiteX1" fmla="*/ 2768782 w 4562985"/>
              <a:gd name="connsiteY1" fmla="*/ 821 h 5328652"/>
              <a:gd name="connsiteX2" fmla="*/ 4560956 w 4562985"/>
              <a:gd name="connsiteY2" fmla="*/ 2563046 h 5328652"/>
              <a:gd name="connsiteX3" fmla="*/ 2768782 w 4562985"/>
              <a:gd name="connsiteY3" fmla="*/ 5328471 h 5328652"/>
              <a:gd name="connsiteX4" fmla="*/ 105750 w 4562985"/>
              <a:gd name="connsiteY4" fmla="*/ 2664646 h 5328652"/>
              <a:gd name="connsiteX0" fmla="*/ 58 w 4457293"/>
              <a:gd name="connsiteY0" fmla="*/ 2664646 h 5329073"/>
              <a:gd name="connsiteX1" fmla="*/ 2663090 w 4457293"/>
              <a:gd name="connsiteY1" fmla="*/ 821 h 5329073"/>
              <a:gd name="connsiteX2" fmla="*/ 4455264 w 4457293"/>
              <a:gd name="connsiteY2" fmla="*/ 2563046 h 5329073"/>
              <a:gd name="connsiteX3" fmla="*/ 2663090 w 4457293"/>
              <a:gd name="connsiteY3" fmla="*/ 5328471 h 5329073"/>
              <a:gd name="connsiteX4" fmla="*/ 58 w 4457293"/>
              <a:gd name="connsiteY4" fmla="*/ 2664646 h 5329073"/>
              <a:gd name="connsiteX0" fmla="*/ 50 w 2995961"/>
              <a:gd name="connsiteY0" fmla="*/ 2784790 h 5569580"/>
              <a:gd name="connsiteX1" fmla="*/ 2663082 w 2995961"/>
              <a:gd name="connsiteY1" fmla="*/ 120965 h 5569580"/>
              <a:gd name="connsiteX2" fmla="*/ 2663082 w 2995961"/>
              <a:gd name="connsiteY2" fmla="*/ 5448615 h 5569580"/>
              <a:gd name="connsiteX3" fmla="*/ 50 w 2995961"/>
              <a:gd name="connsiteY3" fmla="*/ 2784790 h 5569580"/>
              <a:gd name="connsiteX0" fmla="*/ 50 w 3441213"/>
              <a:gd name="connsiteY0" fmla="*/ 2784790 h 5479140"/>
              <a:gd name="connsiteX1" fmla="*/ 2663082 w 3441213"/>
              <a:gd name="connsiteY1" fmla="*/ 120965 h 5479140"/>
              <a:gd name="connsiteX2" fmla="*/ 2663082 w 3441213"/>
              <a:gd name="connsiteY2" fmla="*/ 5448615 h 5479140"/>
              <a:gd name="connsiteX3" fmla="*/ 50 w 3441213"/>
              <a:gd name="connsiteY3" fmla="*/ 2784790 h 5479140"/>
              <a:gd name="connsiteX0" fmla="*/ 50 w 3683242"/>
              <a:gd name="connsiteY0" fmla="*/ 2784790 h 5453193"/>
              <a:gd name="connsiteX1" fmla="*/ 2663082 w 3683242"/>
              <a:gd name="connsiteY1" fmla="*/ 120965 h 5453193"/>
              <a:gd name="connsiteX2" fmla="*/ 2663082 w 3683242"/>
              <a:gd name="connsiteY2" fmla="*/ 5448615 h 5453193"/>
              <a:gd name="connsiteX3" fmla="*/ 50 w 3683242"/>
              <a:gd name="connsiteY3" fmla="*/ 2784790 h 5453193"/>
              <a:gd name="connsiteX0" fmla="*/ 703 w 3890738"/>
              <a:gd name="connsiteY0" fmla="*/ 2721883 h 5386797"/>
              <a:gd name="connsiteX1" fmla="*/ 2663735 w 3890738"/>
              <a:gd name="connsiteY1" fmla="*/ 58058 h 5386797"/>
              <a:gd name="connsiteX2" fmla="*/ 2939507 w 3890738"/>
              <a:gd name="connsiteY2" fmla="*/ 5385708 h 5386797"/>
              <a:gd name="connsiteX3" fmla="*/ 703 w 3890738"/>
              <a:gd name="connsiteY3" fmla="*/ 2721883 h 5386797"/>
              <a:gd name="connsiteX0" fmla="*/ 703 w 3974551"/>
              <a:gd name="connsiteY0" fmla="*/ 2721883 h 5385771"/>
              <a:gd name="connsiteX1" fmla="*/ 2663735 w 3974551"/>
              <a:gd name="connsiteY1" fmla="*/ 58058 h 5385771"/>
              <a:gd name="connsiteX2" fmla="*/ 2939507 w 3974551"/>
              <a:gd name="connsiteY2" fmla="*/ 5385708 h 5385771"/>
              <a:gd name="connsiteX3" fmla="*/ 703 w 3974551"/>
              <a:gd name="connsiteY3" fmla="*/ 2721883 h 5385771"/>
              <a:gd name="connsiteX0" fmla="*/ 808 w 2787894"/>
              <a:gd name="connsiteY0" fmla="*/ 2735538 h 5443775"/>
              <a:gd name="connsiteX1" fmla="*/ 2315497 w 2787894"/>
              <a:gd name="connsiteY1" fmla="*/ 57199 h 5443775"/>
              <a:gd name="connsiteX2" fmla="*/ 2591269 w 2787894"/>
              <a:gd name="connsiteY2" fmla="*/ 5384849 h 5443775"/>
              <a:gd name="connsiteX3" fmla="*/ 808 w 2787894"/>
              <a:gd name="connsiteY3" fmla="*/ 2735538 h 5443775"/>
              <a:gd name="connsiteX0" fmla="*/ 808 w 2787894"/>
              <a:gd name="connsiteY0" fmla="*/ 2768996 h 5512025"/>
              <a:gd name="connsiteX1" fmla="*/ 2315497 w 2787894"/>
              <a:gd name="connsiteY1" fmla="*/ 90657 h 5512025"/>
              <a:gd name="connsiteX2" fmla="*/ 2591269 w 2787894"/>
              <a:gd name="connsiteY2" fmla="*/ 5418307 h 5512025"/>
              <a:gd name="connsiteX3" fmla="*/ 808 w 2787894"/>
              <a:gd name="connsiteY3" fmla="*/ 2768996 h 5512025"/>
              <a:gd name="connsiteX0" fmla="*/ 722 w 2793155"/>
              <a:gd name="connsiteY0" fmla="*/ 2721294 h 5428937"/>
              <a:gd name="connsiteX1" fmla="*/ 2329925 w 2793155"/>
              <a:gd name="connsiteY1" fmla="*/ 57469 h 5428937"/>
              <a:gd name="connsiteX2" fmla="*/ 2591183 w 2793155"/>
              <a:gd name="connsiteY2" fmla="*/ 5370605 h 5428937"/>
              <a:gd name="connsiteX3" fmla="*/ 722 w 2793155"/>
              <a:gd name="connsiteY3" fmla="*/ 2721294 h 5428937"/>
              <a:gd name="connsiteX0" fmla="*/ 1317 w 3115270"/>
              <a:gd name="connsiteY0" fmla="*/ 2752488 h 5460131"/>
              <a:gd name="connsiteX1" fmla="*/ 2330520 w 3115270"/>
              <a:gd name="connsiteY1" fmla="*/ 88663 h 5460131"/>
              <a:gd name="connsiteX2" fmla="*/ 2591778 w 3115270"/>
              <a:gd name="connsiteY2" fmla="*/ 5401799 h 5460131"/>
              <a:gd name="connsiteX3" fmla="*/ 1317 w 3115270"/>
              <a:gd name="connsiteY3" fmla="*/ 2752488 h 546013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3128735"/>
              <a:gd name="connsiteY0" fmla="*/ 2783268 h 5514081"/>
              <a:gd name="connsiteX1" fmla="*/ 2343985 w 3128735"/>
              <a:gd name="connsiteY1" fmla="*/ 119443 h 5514081"/>
              <a:gd name="connsiteX2" fmla="*/ 2605243 w 3128735"/>
              <a:gd name="connsiteY2" fmla="*/ 5432579 h 5514081"/>
              <a:gd name="connsiteX3" fmla="*/ 14782 w 3128735"/>
              <a:gd name="connsiteY3" fmla="*/ 2783268 h 5514081"/>
              <a:gd name="connsiteX0" fmla="*/ 14782 w 2887659"/>
              <a:gd name="connsiteY0" fmla="*/ 2783268 h 6468013"/>
              <a:gd name="connsiteX1" fmla="*/ 2343985 w 2887659"/>
              <a:gd name="connsiteY1" fmla="*/ 119443 h 6468013"/>
              <a:gd name="connsiteX2" fmla="*/ 2605243 w 2887659"/>
              <a:gd name="connsiteY2" fmla="*/ 5432579 h 6468013"/>
              <a:gd name="connsiteX3" fmla="*/ 14782 w 2887659"/>
              <a:gd name="connsiteY3" fmla="*/ 2783268 h 6468013"/>
              <a:gd name="connsiteX0" fmla="*/ 14782 w 3542449"/>
              <a:gd name="connsiteY0" fmla="*/ 2783268 h 5433571"/>
              <a:gd name="connsiteX1" fmla="*/ 2343985 w 3542449"/>
              <a:gd name="connsiteY1" fmla="*/ 119443 h 5433571"/>
              <a:gd name="connsiteX2" fmla="*/ 2605243 w 3542449"/>
              <a:gd name="connsiteY2" fmla="*/ 5432579 h 5433571"/>
              <a:gd name="connsiteX3" fmla="*/ 14782 w 3542449"/>
              <a:gd name="connsiteY3" fmla="*/ 2783268 h 5433571"/>
              <a:gd name="connsiteX0" fmla="*/ 14782 w 3768116"/>
              <a:gd name="connsiteY0" fmla="*/ 2783268 h 5436870"/>
              <a:gd name="connsiteX1" fmla="*/ 2343985 w 3768116"/>
              <a:gd name="connsiteY1" fmla="*/ 119443 h 5436870"/>
              <a:gd name="connsiteX2" fmla="*/ 2605243 w 3768116"/>
              <a:gd name="connsiteY2" fmla="*/ 5432579 h 5436870"/>
              <a:gd name="connsiteX3" fmla="*/ 14782 w 3768116"/>
              <a:gd name="connsiteY3" fmla="*/ 2783268 h 5436870"/>
              <a:gd name="connsiteX0" fmla="*/ 26570 w 3982907"/>
              <a:gd name="connsiteY0" fmla="*/ 2735877 h 5389479"/>
              <a:gd name="connsiteX1" fmla="*/ 2355773 w 3982907"/>
              <a:gd name="connsiteY1" fmla="*/ 72052 h 5389479"/>
              <a:gd name="connsiteX2" fmla="*/ 2617031 w 3982907"/>
              <a:gd name="connsiteY2" fmla="*/ 5385188 h 5389479"/>
              <a:gd name="connsiteX3" fmla="*/ 26570 w 3982907"/>
              <a:gd name="connsiteY3" fmla="*/ 2735877 h 5389479"/>
              <a:gd name="connsiteX0" fmla="*/ 29054 w 4010649"/>
              <a:gd name="connsiteY0" fmla="*/ 2674882 h 5328484"/>
              <a:gd name="connsiteX1" fmla="*/ 2358257 w 4010649"/>
              <a:gd name="connsiteY1" fmla="*/ 11057 h 5328484"/>
              <a:gd name="connsiteX2" fmla="*/ 2619515 w 4010649"/>
              <a:gd name="connsiteY2" fmla="*/ 5324193 h 5328484"/>
              <a:gd name="connsiteX3" fmla="*/ 29054 w 4010649"/>
              <a:gd name="connsiteY3" fmla="*/ 2674882 h 5328484"/>
              <a:gd name="connsiteX0" fmla="*/ 3464 w 3985059"/>
              <a:gd name="connsiteY0" fmla="*/ 2674307 h 5327661"/>
              <a:gd name="connsiteX1" fmla="*/ 2332667 w 3985059"/>
              <a:gd name="connsiteY1" fmla="*/ 10482 h 5327661"/>
              <a:gd name="connsiteX2" fmla="*/ 2593925 w 3985059"/>
              <a:gd name="connsiteY2" fmla="*/ 5323618 h 5327661"/>
              <a:gd name="connsiteX3" fmla="*/ 3464 w 3985059"/>
              <a:gd name="connsiteY3" fmla="*/ 2674307 h 5327661"/>
              <a:gd name="connsiteX0" fmla="*/ 689 w 2915388"/>
              <a:gd name="connsiteY0" fmla="*/ 3023318 h 5477042"/>
              <a:gd name="connsiteX1" fmla="*/ 2439453 w 2915388"/>
              <a:gd name="connsiteY1" fmla="*/ 54693 h 5477042"/>
              <a:gd name="connsiteX2" fmla="*/ 2700711 w 2915388"/>
              <a:gd name="connsiteY2" fmla="*/ 5367829 h 5477042"/>
              <a:gd name="connsiteX3" fmla="*/ 689 w 2915388"/>
              <a:gd name="connsiteY3" fmla="*/ 3023318 h 5477042"/>
              <a:gd name="connsiteX0" fmla="*/ 12193 w 2926892"/>
              <a:gd name="connsiteY0" fmla="*/ 3048495 h 5562600"/>
              <a:gd name="connsiteX1" fmla="*/ 2450957 w 2926892"/>
              <a:gd name="connsiteY1" fmla="*/ 79870 h 5562600"/>
              <a:gd name="connsiteX2" fmla="*/ 2712215 w 2926892"/>
              <a:gd name="connsiteY2" fmla="*/ 5393006 h 5562600"/>
              <a:gd name="connsiteX3" fmla="*/ 12193 w 2926892"/>
              <a:gd name="connsiteY3" fmla="*/ 3048495 h 5562600"/>
              <a:gd name="connsiteX0" fmla="*/ 12193 w 3430858"/>
              <a:gd name="connsiteY0" fmla="*/ 3048495 h 5533532"/>
              <a:gd name="connsiteX1" fmla="*/ 2450957 w 3430858"/>
              <a:gd name="connsiteY1" fmla="*/ 79870 h 5533532"/>
              <a:gd name="connsiteX2" fmla="*/ 2712215 w 3430858"/>
              <a:gd name="connsiteY2" fmla="*/ 5393006 h 5533532"/>
              <a:gd name="connsiteX3" fmla="*/ 12193 w 3430858"/>
              <a:gd name="connsiteY3" fmla="*/ 3048495 h 5533532"/>
              <a:gd name="connsiteX0" fmla="*/ 2706 w 3625169"/>
              <a:gd name="connsiteY0" fmla="*/ 3007739 h 5342253"/>
              <a:gd name="connsiteX1" fmla="*/ 2441470 w 3625169"/>
              <a:gd name="connsiteY1" fmla="*/ 39114 h 5342253"/>
              <a:gd name="connsiteX2" fmla="*/ 2962934 w 3625169"/>
              <a:gd name="connsiteY2" fmla="*/ 5279679 h 5342253"/>
              <a:gd name="connsiteX3" fmla="*/ 2706 w 3625169"/>
              <a:gd name="connsiteY3" fmla="*/ 3007739 h 5342253"/>
              <a:gd name="connsiteX0" fmla="*/ 2706 w 3789167"/>
              <a:gd name="connsiteY0" fmla="*/ 3007739 h 5424045"/>
              <a:gd name="connsiteX1" fmla="*/ 2441470 w 3789167"/>
              <a:gd name="connsiteY1" fmla="*/ 39114 h 5424045"/>
              <a:gd name="connsiteX2" fmla="*/ 2962934 w 3789167"/>
              <a:gd name="connsiteY2" fmla="*/ 5279679 h 5424045"/>
              <a:gd name="connsiteX3" fmla="*/ 2706 w 3789167"/>
              <a:gd name="connsiteY3" fmla="*/ 3007739 h 5424045"/>
              <a:gd name="connsiteX0" fmla="*/ 3585 w 3790046"/>
              <a:gd name="connsiteY0" fmla="*/ 3027931 h 5516003"/>
              <a:gd name="connsiteX1" fmla="*/ 2442349 w 3790046"/>
              <a:gd name="connsiteY1" fmla="*/ 59306 h 5516003"/>
              <a:gd name="connsiteX2" fmla="*/ 2963813 w 3790046"/>
              <a:gd name="connsiteY2" fmla="*/ 5299871 h 5516003"/>
              <a:gd name="connsiteX3" fmla="*/ 3585 w 3790046"/>
              <a:gd name="connsiteY3" fmla="*/ 3027931 h 5516003"/>
              <a:gd name="connsiteX0" fmla="*/ 3566 w 3139666"/>
              <a:gd name="connsiteY0" fmla="*/ 2841343 h 5422859"/>
              <a:gd name="connsiteX1" fmla="*/ 2456025 w 3139666"/>
              <a:gd name="connsiteY1" fmla="*/ 75918 h 5422859"/>
              <a:gd name="connsiteX2" fmla="*/ 2977489 w 3139666"/>
              <a:gd name="connsiteY2" fmla="*/ 5316483 h 5422859"/>
              <a:gd name="connsiteX3" fmla="*/ 3566 w 3139666"/>
              <a:gd name="connsiteY3" fmla="*/ 2841343 h 5422859"/>
              <a:gd name="connsiteX0" fmla="*/ 385 w 3136485"/>
              <a:gd name="connsiteY0" fmla="*/ 2853470 h 5453353"/>
              <a:gd name="connsiteX1" fmla="*/ 2452844 w 3136485"/>
              <a:gd name="connsiteY1" fmla="*/ 88045 h 5453353"/>
              <a:gd name="connsiteX2" fmla="*/ 2974308 w 3136485"/>
              <a:gd name="connsiteY2" fmla="*/ 5328610 h 5453353"/>
              <a:gd name="connsiteX3" fmla="*/ 385 w 3136485"/>
              <a:gd name="connsiteY3" fmla="*/ 2853470 h 5453353"/>
              <a:gd name="connsiteX0" fmla="*/ 850 w 3470252"/>
              <a:gd name="connsiteY0" fmla="*/ 2906589 h 5506472"/>
              <a:gd name="connsiteX1" fmla="*/ 2453309 w 3470252"/>
              <a:gd name="connsiteY1" fmla="*/ 141164 h 5506472"/>
              <a:gd name="connsiteX2" fmla="*/ 2974773 w 3470252"/>
              <a:gd name="connsiteY2" fmla="*/ 5381729 h 5506472"/>
              <a:gd name="connsiteX3" fmla="*/ 850 w 3470252"/>
              <a:gd name="connsiteY3" fmla="*/ 2906589 h 5506472"/>
              <a:gd name="connsiteX0" fmla="*/ 1481 w 3615243"/>
              <a:gd name="connsiteY0" fmla="*/ 2794042 h 5332920"/>
              <a:gd name="connsiteX1" fmla="*/ 2686756 w 3615243"/>
              <a:gd name="connsiteY1" fmla="*/ 86674 h 5332920"/>
              <a:gd name="connsiteX2" fmla="*/ 2975404 w 3615243"/>
              <a:gd name="connsiteY2" fmla="*/ 5269182 h 5332920"/>
              <a:gd name="connsiteX3" fmla="*/ 1481 w 3615243"/>
              <a:gd name="connsiteY3" fmla="*/ 2794042 h 5332920"/>
              <a:gd name="connsiteX0" fmla="*/ 2176 w 3777813"/>
              <a:gd name="connsiteY0" fmla="*/ 2824545 h 5363423"/>
              <a:gd name="connsiteX1" fmla="*/ 2687451 w 3777813"/>
              <a:gd name="connsiteY1" fmla="*/ 117177 h 5363423"/>
              <a:gd name="connsiteX2" fmla="*/ 2976099 w 3777813"/>
              <a:gd name="connsiteY2" fmla="*/ 5299685 h 5363423"/>
              <a:gd name="connsiteX3" fmla="*/ 2176 w 3777813"/>
              <a:gd name="connsiteY3" fmla="*/ 2824545 h 5363423"/>
              <a:gd name="connsiteX0" fmla="*/ 2176 w 3975190"/>
              <a:gd name="connsiteY0" fmla="*/ 2824545 h 5433490"/>
              <a:gd name="connsiteX1" fmla="*/ 2687451 w 3975190"/>
              <a:gd name="connsiteY1" fmla="*/ 117177 h 5433490"/>
              <a:gd name="connsiteX2" fmla="*/ 2976099 w 3975190"/>
              <a:gd name="connsiteY2" fmla="*/ 5299685 h 5433490"/>
              <a:gd name="connsiteX3" fmla="*/ 2176 w 3975190"/>
              <a:gd name="connsiteY3" fmla="*/ 2824545 h 5433490"/>
              <a:gd name="connsiteX0" fmla="*/ 6774 w 3979788"/>
              <a:gd name="connsiteY0" fmla="*/ 2875344 h 5546478"/>
              <a:gd name="connsiteX1" fmla="*/ 2692049 w 3979788"/>
              <a:gd name="connsiteY1" fmla="*/ 167976 h 5546478"/>
              <a:gd name="connsiteX2" fmla="*/ 2980697 w 3979788"/>
              <a:gd name="connsiteY2" fmla="*/ 5350484 h 5546478"/>
              <a:gd name="connsiteX3" fmla="*/ 6774 w 3979788"/>
              <a:gd name="connsiteY3" fmla="*/ 2875344 h 5546478"/>
              <a:gd name="connsiteX0" fmla="*/ 2374 w 3441832"/>
              <a:gd name="connsiteY0" fmla="*/ 2799204 h 5365036"/>
              <a:gd name="connsiteX1" fmla="*/ 2893075 w 3441832"/>
              <a:gd name="connsiteY1" fmla="*/ 77322 h 5365036"/>
              <a:gd name="connsiteX2" fmla="*/ 3181723 w 3441832"/>
              <a:gd name="connsiteY2" fmla="*/ 5259830 h 5365036"/>
              <a:gd name="connsiteX3" fmla="*/ 2374 w 3441832"/>
              <a:gd name="connsiteY3" fmla="*/ 2799204 h 5365036"/>
              <a:gd name="connsiteX0" fmla="*/ 711 w 3440169"/>
              <a:gd name="connsiteY0" fmla="*/ 2817839 h 5410864"/>
              <a:gd name="connsiteX1" fmla="*/ 2891412 w 3440169"/>
              <a:gd name="connsiteY1" fmla="*/ 95957 h 5410864"/>
              <a:gd name="connsiteX2" fmla="*/ 3180060 w 3440169"/>
              <a:gd name="connsiteY2" fmla="*/ 5278465 h 5410864"/>
              <a:gd name="connsiteX3" fmla="*/ 711 w 3440169"/>
              <a:gd name="connsiteY3" fmla="*/ 2817839 h 5410864"/>
              <a:gd name="connsiteX0" fmla="*/ 1041 w 3711403"/>
              <a:gd name="connsiteY0" fmla="*/ 2927371 h 5520396"/>
              <a:gd name="connsiteX1" fmla="*/ 2891742 w 3711403"/>
              <a:gd name="connsiteY1" fmla="*/ 205489 h 5520396"/>
              <a:gd name="connsiteX2" fmla="*/ 3180390 w 3711403"/>
              <a:gd name="connsiteY2" fmla="*/ 5387997 h 5520396"/>
              <a:gd name="connsiteX3" fmla="*/ 1041 w 3711403"/>
              <a:gd name="connsiteY3" fmla="*/ 2927371 h 5520396"/>
              <a:gd name="connsiteX0" fmla="*/ 1041 w 3261245"/>
              <a:gd name="connsiteY0" fmla="*/ 2927371 h 5520396"/>
              <a:gd name="connsiteX1" fmla="*/ 2891742 w 3261245"/>
              <a:gd name="connsiteY1" fmla="*/ 205489 h 5520396"/>
              <a:gd name="connsiteX2" fmla="*/ 3180390 w 3261245"/>
              <a:gd name="connsiteY2" fmla="*/ 5387997 h 5520396"/>
              <a:gd name="connsiteX3" fmla="*/ 1041 w 3261245"/>
              <a:gd name="connsiteY3" fmla="*/ 2927371 h 5520396"/>
              <a:gd name="connsiteX0" fmla="*/ 2152 w 3620264"/>
              <a:gd name="connsiteY0" fmla="*/ 2723526 h 5316551"/>
              <a:gd name="connsiteX1" fmla="*/ 2892853 w 3620264"/>
              <a:gd name="connsiteY1" fmla="*/ 1644 h 5316551"/>
              <a:gd name="connsiteX2" fmla="*/ 3181501 w 3620264"/>
              <a:gd name="connsiteY2" fmla="*/ 5184152 h 5316551"/>
              <a:gd name="connsiteX3" fmla="*/ 2152 w 3620264"/>
              <a:gd name="connsiteY3" fmla="*/ 2723526 h 5316551"/>
              <a:gd name="connsiteX0" fmla="*/ 76123 w 3255472"/>
              <a:gd name="connsiteY0" fmla="*/ 3057031 h 5583819"/>
              <a:gd name="connsiteX1" fmla="*/ 2090343 w 3255472"/>
              <a:gd name="connsiteY1" fmla="*/ 1321 h 5583819"/>
              <a:gd name="connsiteX2" fmla="*/ 3255472 w 3255472"/>
              <a:gd name="connsiteY2" fmla="*/ 5517657 h 5583819"/>
              <a:gd name="connsiteX3" fmla="*/ 76123 w 3255472"/>
              <a:gd name="connsiteY3" fmla="*/ 3057031 h 5583819"/>
              <a:gd name="connsiteX0" fmla="*/ 47485 w 3226834"/>
              <a:gd name="connsiteY0" fmla="*/ 3056077 h 5582865"/>
              <a:gd name="connsiteX1" fmla="*/ 2061705 w 3226834"/>
              <a:gd name="connsiteY1" fmla="*/ 367 h 5582865"/>
              <a:gd name="connsiteX2" fmla="*/ 3226834 w 3226834"/>
              <a:gd name="connsiteY2" fmla="*/ 5516703 h 5582865"/>
              <a:gd name="connsiteX3" fmla="*/ 47485 w 3226834"/>
              <a:gd name="connsiteY3" fmla="*/ 3056077 h 5582865"/>
              <a:gd name="connsiteX0" fmla="*/ 47485 w 4182195"/>
              <a:gd name="connsiteY0" fmla="*/ 3056077 h 5582865"/>
              <a:gd name="connsiteX1" fmla="*/ 2061705 w 4182195"/>
              <a:gd name="connsiteY1" fmla="*/ 367 h 5582865"/>
              <a:gd name="connsiteX2" fmla="*/ 3226834 w 4182195"/>
              <a:gd name="connsiteY2" fmla="*/ 5516703 h 5582865"/>
              <a:gd name="connsiteX3" fmla="*/ 47485 w 4182195"/>
              <a:gd name="connsiteY3" fmla="*/ 3056077 h 5582865"/>
              <a:gd name="connsiteX0" fmla="*/ 47485 w 4182195"/>
              <a:gd name="connsiteY0" fmla="*/ 3056077 h 5628956"/>
              <a:gd name="connsiteX1" fmla="*/ 2061705 w 4182195"/>
              <a:gd name="connsiteY1" fmla="*/ 367 h 5628956"/>
              <a:gd name="connsiteX2" fmla="*/ 3226834 w 4182195"/>
              <a:gd name="connsiteY2" fmla="*/ 5516703 h 5628956"/>
              <a:gd name="connsiteX3" fmla="*/ 47485 w 4182195"/>
              <a:gd name="connsiteY3" fmla="*/ 3056077 h 5628956"/>
              <a:gd name="connsiteX0" fmla="*/ 34155 w 4168865"/>
              <a:gd name="connsiteY0" fmla="*/ 3056380 h 5687701"/>
              <a:gd name="connsiteX1" fmla="*/ 2048375 w 4168865"/>
              <a:gd name="connsiteY1" fmla="*/ 670 h 5687701"/>
              <a:gd name="connsiteX2" fmla="*/ 3213504 w 4168865"/>
              <a:gd name="connsiteY2" fmla="*/ 5517006 h 5687701"/>
              <a:gd name="connsiteX3" fmla="*/ 34155 w 4168865"/>
              <a:gd name="connsiteY3" fmla="*/ 3056380 h 5687701"/>
              <a:gd name="connsiteX0" fmla="*/ 206109 w 4171916"/>
              <a:gd name="connsiteY0" fmla="*/ 2939979 h 5512090"/>
              <a:gd name="connsiteX1" fmla="*/ 1535579 w 4171916"/>
              <a:gd name="connsiteY1" fmla="*/ 384 h 5512090"/>
              <a:gd name="connsiteX2" fmla="*/ 3385458 w 4171916"/>
              <a:gd name="connsiteY2" fmla="*/ 5400605 h 5512090"/>
              <a:gd name="connsiteX3" fmla="*/ 206109 w 4171916"/>
              <a:gd name="connsiteY3" fmla="*/ 2939979 h 5512090"/>
              <a:gd name="connsiteX0" fmla="*/ 51527 w 3877513"/>
              <a:gd name="connsiteY0" fmla="*/ 3854469 h 5581484"/>
              <a:gd name="connsiteX1" fmla="*/ 1435777 w 3877513"/>
              <a:gd name="connsiteY1" fmla="*/ 14989 h 5581484"/>
              <a:gd name="connsiteX2" fmla="*/ 3285656 w 3877513"/>
              <a:gd name="connsiteY2" fmla="*/ 5415210 h 5581484"/>
              <a:gd name="connsiteX3" fmla="*/ 51527 w 3877513"/>
              <a:gd name="connsiteY3" fmla="*/ 3854469 h 5581484"/>
              <a:gd name="connsiteX0" fmla="*/ 4370 w 3830356"/>
              <a:gd name="connsiteY0" fmla="*/ 3857227 h 5641262"/>
              <a:gd name="connsiteX1" fmla="*/ 1388620 w 3830356"/>
              <a:gd name="connsiteY1" fmla="*/ 17747 h 5641262"/>
              <a:gd name="connsiteX2" fmla="*/ 3238499 w 3830356"/>
              <a:gd name="connsiteY2" fmla="*/ 5417968 h 5641262"/>
              <a:gd name="connsiteX3" fmla="*/ 4370 w 3830356"/>
              <a:gd name="connsiteY3" fmla="*/ 3857227 h 5641262"/>
              <a:gd name="connsiteX0" fmla="*/ 1371 w 4093098"/>
              <a:gd name="connsiteY0" fmla="*/ 2929991 h 4644961"/>
              <a:gd name="connsiteX1" fmla="*/ 2837292 w 4093098"/>
              <a:gd name="connsiteY1" fmla="*/ 19425 h 4644961"/>
              <a:gd name="connsiteX2" fmla="*/ 3235500 w 4093098"/>
              <a:gd name="connsiteY2" fmla="*/ 4490732 h 4644961"/>
              <a:gd name="connsiteX3" fmla="*/ 1371 w 4093098"/>
              <a:gd name="connsiteY3" fmla="*/ 2929991 h 4644961"/>
              <a:gd name="connsiteX0" fmla="*/ 1391 w 4050509"/>
              <a:gd name="connsiteY0" fmla="*/ 2007387 h 4643625"/>
              <a:gd name="connsiteX1" fmla="*/ 2796227 w 4050509"/>
              <a:gd name="connsiteY1" fmla="*/ 69278 h 4643625"/>
              <a:gd name="connsiteX2" fmla="*/ 3194435 w 4050509"/>
              <a:gd name="connsiteY2" fmla="*/ 4540585 h 4643625"/>
              <a:gd name="connsiteX3" fmla="*/ 1391 w 4050509"/>
              <a:gd name="connsiteY3" fmla="*/ 2007387 h 4643625"/>
              <a:gd name="connsiteX0" fmla="*/ 208 w 4049326"/>
              <a:gd name="connsiteY0" fmla="*/ 2092323 h 4794566"/>
              <a:gd name="connsiteX1" fmla="*/ 2795044 w 4049326"/>
              <a:gd name="connsiteY1" fmla="*/ 154214 h 4794566"/>
              <a:gd name="connsiteX2" fmla="*/ 3193252 w 4049326"/>
              <a:gd name="connsiteY2" fmla="*/ 4625521 h 4794566"/>
              <a:gd name="connsiteX3" fmla="*/ 208 w 4049326"/>
              <a:gd name="connsiteY3" fmla="*/ 2092323 h 4794566"/>
              <a:gd name="connsiteX0" fmla="*/ 557 w 3614342"/>
              <a:gd name="connsiteY0" fmla="*/ 2018612 h 4866464"/>
              <a:gd name="connsiteX1" fmla="*/ 2795393 w 3614342"/>
              <a:gd name="connsiteY1" fmla="*/ 80503 h 4866464"/>
              <a:gd name="connsiteX2" fmla="*/ 2604716 w 3614342"/>
              <a:gd name="connsiteY2" fmla="*/ 4769524 h 4866464"/>
              <a:gd name="connsiteX3" fmla="*/ 557 w 3614342"/>
              <a:gd name="connsiteY3" fmla="*/ 2018612 h 4866464"/>
              <a:gd name="connsiteX0" fmla="*/ 557 w 3591297"/>
              <a:gd name="connsiteY0" fmla="*/ 2018612 h 4866464"/>
              <a:gd name="connsiteX1" fmla="*/ 2795393 w 3591297"/>
              <a:gd name="connsiteY1" fmla="*/ 80503 h 4866464"/>
              <a:gd name="connsiteX2" fmla="*/ 3588394 w 3591297"/>
              <a:gd name="connsiteY2" fmla="*/ 3137767 h 4866464"/>
              <a:gd name="connsiteX3" fmla="*/ 2604716 w 3591297"/>
              <a:gd name="connsiteY3" fmla="*/ 4769524 h 4866464"/>
              <a:gd name="connsiteX4" fmla="*/ 557 w 3591297"/>
              <a:gd name="connsiteY4" fmla="*/ 2018612 h 4866464"/>
              <a:gd name="connsiteX0" fmla="*/ 557 w 3591297"/>
              <a:gd name="connsiteY0" fmla="*/ 1953307 h 4801159"/>
              <a:gd name="connsiteX1" fmla="*/ 2795393 w 3591297"/>
              <a:gd name="connsiteY1" fmla="*/ 15198 h 4801159"/>
              <a:gd name="connsiteX2" fmla="*/ 3588394 w 3591297"/>
              <a:gd name="connsiteY2" fmla="*/ 2985376 h 4801159"/>
              <a:gd name="connsiteX3" fmla="*/ 2604716 w 3591297"/>
              <a:gd name="connsiteY3" fmla="*/ 4704219 h 4801159"/>
              <a:gd name="connsiteX4" fmla="*/ 557 w 3591297"/>
              <a:gd name="connsiteY4" fmla="*/ 1953307 h 4801159"/>
              <a:gd name="connsiteX0" fmla="*/ 557 w 3835704"/>
              <a:gd name="connsiteY0" fmla="*/ 1953307 h 4801159"/>
              <a:gd name="connsiteX1" fmla="*/ 2795393 w 3835704"/>
              <a:gd name="connsiteY1" fmla="*/ 15198 h 4801159"/>
              <a:gd name="connsiteX2" fmla="*/ 3588394 w 3835704"/>
              <a:gd name="connsiteY2" fmla="*/ 2985376 h 4801159"/>
              <a:gd name="connsiteX3" fmla="*/ 2604716 w 3835704"/>
              <a:gd name="connsiteY3" fmla="*/ 4704219 h 4801159"/>
              <a:gd name="connsiteX4" fmla="*/ 557 w 3835704"/>
              <a:gd name="connsiteY4" fmla="*/ 1953307 h 4801159"/>
              <a:gd name="connsiteX0" fmla="*/ 697 w 3591286"/>
              <a:gd name="connsiteY0" fmla="*/ 2039678 h 4887970"/>
              <a:gd name="connsiteX1" fmla="*/ 2357293 w 3591286"/>
              <a:gd name="connsiteY1" fmla="*/ 14483 h 4887970"/>
              <a:gd name="connsiteX2" fmla="*/ 3588534 w 3591286"/>
              <a:gd name="connsiteY2" fmla="*/ 3071747 h 4887970"/>
              <a:gd name="connsiteX3" fmla="*/ 2604856 w 3591286"/>
              <a:gd name="connsiteY3" fmla="*/ 4790590 h 4887970"/>
              <a:gd name="connsiteX4" fmla="*/ 697 w 3591286"/>
              <a:gd name="connsiteY4" fmla="*/ 2039678 h 4887970"/>
              <a:gd name="connsiteX0" fmla="*/ 1327 w 3591916"/>
              <a:gd name="connsiteY0" fmla="*/ 2025287 h 4873579"/>
              <a:gd name="connsiteX1" fmla="*/ 2357923 w 3591916"/>
              <a:gd name="connsiteY1" fmla="*/ 92 h 4873579"/>
              <a:gd name="connsiteX2" fmla="*/ 3589164 w 3591916"/>
              <a:gd name="connsiteY2" fmla="*/ 3057356 h 4873579"/>
              <a:gd name="connsiteX3" fmla="*/ 2605486 w 3591916"/>
              <a:gd name="connsiteY3" fmla="*/ 4776199 h 4873579"/>
              <a:gd name="connsiteX4" fmla="*/ 1327 w 3591916"/>
              <a:gd name="connsiteY4" fmla="*/ 2025287 h 4873579"/>
              <a:gd name="connsiteX0" fmla="*/ 2454 w 3593043"/>
              <a:gd name="connsiteY0" fmla="*/ 2025287 h 4892358"/>
              <a:gd name="connsiteX1" fmla="*/ 2359050 w 3593043"/>
              <a:gd name="connsiteY1" fmla="*/ 92 h 4892358"/>
              <a:gd name="connsiteX2" fmla="*/ 3590291 w 3593043"/>
              <a:gd name="connsiteY2" fmla="*/ 3057356 h 4892358"/>
              <a:gd name="connsiteX3" fmla="*/ 2606613 w 3593043"/>
              <a:gd name="connsiteY3" fmla="*/ 4776199 h 4892358"/>
              <a:gd name="connsiteX4" fmla="*/ 2454 w 3593043"/>
              <a:gd name="connsiteY4" fmla="*/ 2025287 h 4892358"/>
              <a:gd name="connsiteX0" fmla="*/ 2454 w 3643278"/>
              <a:gd name="connsiteY0" fmla="*/ 2025287 h 4892358"/>
              <a:gd name="connsiteX1" fmla="*/ 2359050 w 3643278"/>
              <a:gd name="connsiteY1" fmla="*/ 92 h 4892358"/>
              <a:gd name="connsiteX2" fmla="*/ 3590291 w 3643278"/>
              <a:gd name="connsiteY2" fmla="*/ 3057356 h 4892358"/>
              <a:gd name="connsiteX3" fmla="*/ 2606613 w 3643278"/>
              <a:gd name="connsiteY3" fmla="*/ 4776199 h 4892358"/>
              <a:gd name="connsiteX4" fmla="*/ 2454 w 3643278"/>
              <a:gd name="connsiteY4" fmla="*/ 2025287 h 4892358"/>
              <a:gd name="connsiteX0" fmla="*/ 2690 w 3628726"/>
              <a:gd name="connsiteY0" fmla="*/ 2025287 h 4887709"/>
              <a:gd name="connsiteX1" fmla="*/ 2359286 w 3628726"/>
              <a:gd name="connsiteY1" fmla="*/ 92 h 4887709"/>
              <a:gd name="connsiteX2" fmla="*/ 3590527 w 3628726"/>
              <a:gd name="connsiteY2" fmla="*/ 3057356 h 4887709"/>
              <a:gd name="connsiteX3" fmla="*/ 2031659 w 3628726"/>
              <a:gd name="connsiteY3" fmla="*/ 4790714 h 4887709"/>
              <a:gd name="connsiteX4" fmla="*/ 2690 w 3628726"/>
              <a:gd name="connsiteY4" fmla="*/ 2025287 h 4887709"/>
              <a:gd name="connsiteX0" fmla="*/ 3389 w 3629425"/>
              <a:gd name="connsiteY0" fmla="*/ 2025287 h 4793624"/>
              <a:gd name="connsiteX1" fmla="*/ 2359985 w 3629425"/>
              <a:gd name="connsiteY1" fmla="*/ 92 h 4793624"/>
              <a:gd name="connsiteX2" fmla="*/ 3591226 w 3629425"/>
              <a:gd name="connsiteY2" fmla="*/ 3057356 h 4793624"/>
              <a:gd name="connsiteX3" fmla="*/ 2032358 w 3629425"/>
              <a:gd name="connsiteY3" fmla="*/ 4790714 h 4793624"/>
              <a:gd name="connsiteX4" fmla="*/ 3389 w 3629425"/>
              <a:gd name="connsiteY4" fmla="*/ 2025287 h 4793624"/>
              <a:gd name="connsiteX0" fmla="*/ 3389 w 3862397"/>
              <a:gd name="connsiteY0" fmla="*/ 2025315 h 4793652"/>
              <a:gd name="connsiteX1" fmla="*/ 2359985 w 3862397"/>
              <a:gd name="connsiteY1" fmla="*/ 120 h 4793652"/>
              <a:gd name="connsiteX2" fmla="*/ 3591226 w 3862397"/>
              <a:gd name="connsiteY2" fmla="*/ 3057384 h 4793652"/>
              <a:gd name="connsiteX3" fmla="*/ 2032358 w 3862397"/>
              <a:gd name="connsiteY3" fmla="*/ 4790742 h 4793652"/>
              <a:gd name="connsiteX4" fmla="*/ 3389 w 3862397"/>
              <a:gd name="connsiteY4" fmla="*/ 2025315 h 4793652"/>
              <a:gd name="connsiteX0" fmla="*/ 0 w 3587837"/>
              <a:gd name="connsiteY0" fmla="*/ 2025315 h 3133794"/>
              <a:gd name="connsiteX1" fmla="*/ 2356596 w 3587837"/>
              <a:gd name="connsiteY1" fmla="*/ 120 h 3133794"/>
              <a:gd name="connsiteX2" fmla="*/ 3587837 w 3587837"/>
              <a:gd name="connsiteY2" fmla="*/ 3057384 h 3133794"/>
              <a:gd name="connsiteX3" fmla="*/ 0 w 3587837"/>
              <a:gd name="connsiteY3" fmla="*/ 2025315 h 3133794"/>
              <a:gd name="connsiteX0" fmla="*/ 34315 w 3724913"/>
              <a:gd name="connsiteY0" fmla="*/ 2025274 h 3207813"/>
              <a:gd name="connsiteX1" fmla="*/ 2390911 w 3724913"/>
              <a:gd name="connsiteY1" fmla="*/ 79 h 3207813"/>
              <a:gd name="connsiteX2" fmla="*/ 3622152 w 3724913"/>
              <a:gd name="connsiteY2" fmla="*/ 3057343 h 3207813"/>
              <a:gd name="connsiteX3" fmla="*/ 1170746 w 3724913"/>
              <a:gd name="connsiteY3" fmla="*/ 2665458 h 3207813"/>
              <a:gd name="connsiteX4" fmla="*/ 34315 w 3724913"/>
              <a:gd name="connsiteY4" fmla="*/ 2025274 h 3207813"/>
              <a:gd name="connsiteX0" fmla="*/ 30070 w 3716677"/>
              <a:gd name="connsiteY0" fmla="*/ 2025285 h 4702193"/>
              <a:gd name="connsiteX1" fmla="*/ 2386666 w 3716677"/>
              <a:gd name="connsiteY1" fmla="*/ 90 h 4702193"/>
              <a:gd name="connsiteX2" fmla="*/ 3617907 w 3716677"/>
              <a:gd name="connsiteY2" fmla="*/ 3057354 h 4702193"/>
              <a:gd name="connsiteX3" fmla="*/ 1221281 w 3716677"/>
              <a:gd name="connsiteY3" fmla="*/ 4682954 h 4702193"/>
              <a:gd name="connsiteX4" fmla="*/ 30070 w 3716677"/>
              <a:gd name="connsiteY4" fmla="*/ 2025285 h 4702193"/>
              <a:gd name="connsiteX0" fmla="*/ 55685 w 3742292"/>
              <a:gd name="connsiteY0" fmla="*/ 2025285 h 4728807"/>
              <a:gd name="connsiteX1" fmla="*/ 2412281 w 3742292"/>
              <a:gd name="connsiteY1" fmla="*/ 90 h 4728807"/>
              <a:gd name="connsiteX2" fmla="*/ 3643522 w 3742292"/>
              <a:gd name="connsiteY2" fmla="*/ 3057354 h 4728807"/>
              <a:gd name="connsiteX3" fmla="*/ 1246896 w 3742292"/>
              <a:gd name="connsiteY3" fmla="*/ 4682954 h 4728807"/>
              <a:gd name="connsiteX4" fmla="*/ 55685 w 3742292"/>
              <a:gd name="connsiteY4" fmla="*/ 2025285 h 4728807"/>
              <a:gd name="connsiteX0" fmla="*/ 28138 w 2448977"/>
              <a:gd name="connsiteY0" fmla="*/ 4702937 h 4814640"/>
              <a:gd name="connsiteX1" fmla="*/ 1193523 w 2448977"/>
              <a:gd name="connsiteY1" fmla="*/ 20073 h 4814640"/>
              <a:gd name="connsiteX2" fmla="*/ 2424764 w 2448977"/>
              <a:gd name="connsiteY2" fmla="*/ 3077337 h 4814640"/>
              <a:gd name="connsiteX3" fmla="*/ 28138 w 2448977"/>
              <a:gd name="connsiteY3" fmla="*/ 4702937 h 4814640"/>
              <a:gd name="connsiteX0" fmla="*/ 205515 w 2626174"/>
              <a:gd name="connsiteY0" fmla="*/ 4684962 h 4796665"/>
              <a:gd name="connsiteX1" fmla="*/ 260296 w 2626174"/>
              <a:gd name="connsiteY1" fmla="*/ 3552848 h 4796665"/>
              <a:gd name="connsiteX2" fmla="*/ 1370900 w 2626174"/>
              <a:gd name="connsiteY2" fmla="*/ 2098 h 4796665"/>
              <a:gd name="connsiteX3" fmla="*/ 2602141 w 2626174"/>
              <a:gd name="connsiteY3" fmla="*/ 3059362 h 4796665"/>
              <a:gd name="connsiteX4" fmla="*/ 205515 w 2626174"/>
              <a:gd name="connsiteY4" fmla="*/ 4684962 h 4796665"/>
              <a:gd name="connsiteX0" fmla="*/ 1115118 w 3540121"/>
              <a:gd name="connsiteY0" fmla="*/ 4682882 h 4682930"/>
              <a:gd name="connsiteX1" fmla="*/ 33213 w 3540121"/>
              <a:gd name="connsiteY1" fmla="*/ 3100825 h 4682930"/>
              <a:gd name="connsiteX2" fmla="*/ 2280503 w 3540121"/>
              <a:gd name="connsiteY2" fmla="*/ 18 h 4682930"/>
              <a:gd name="connsiteX3" fmla="*/ 3511744 w 3540121"/>
              <a:gd name="connsiteY3" fmla="*/ 3057282 h 4682930"/>
              <a:gd name="connsiteX4" fmla="*/ 1115118 w 3540121"/>
              <a:gd name="connsiteY4" fmla="*/ 4682882 h 4682930"/>
              <a:gd name="connsiteX0" fmla="*/ 1115118 w 3540121"/>
              <a:gd name="connsiteY0" fmla="*/ 4682882 h 4682930"/>
              <a:gd name="connsiteX1" fmla="*/ 33213 w 3540121"/>
              <a:gd name="connsiteY1" fmla="*/ 3100825 h 4682930"/>
              <a:gd name="connsiteX2" fmla="*/ 2280503 w 3540121"/>
              <a:gd name="connsiteY2" fmla="*/ 18 h 4682930"/>
              <a:gd name="connsiteX3" fmla="*/ 3511744 w 3540121"/>
              <a:gd name="connsiteY3" fmla="*/ 3057282 h 4682930"/>
              <a:gd name="connsiteX4" fmla="*/ 1115118 w 3540121"/>
              <a:gd name="connsiteY4" fmla="*/ 4682882 h 4682930"/>
              <a:gd name="connsiteX0" fmla="*/ 1081961 w 3506964"/>
              <a:gd name="connsiteY0" fmla="*/ 4682882 h 4785491"/>
              <a:gd name="connsiteX1" fmla="*/ 56 w 3506964"/>
              <a:gd name="connsiteY1" fmla="*/ 3100825 h 4785491"/>
              <a:gd name="connsiteX2" fmla="*/ 2247346 w 3506964"/>
              <a:gd name="connsiteY2" fmla="*/ 18 h 4785491"/>
              <a:gd name="connsiteX3" fmla="*/ 3478587 w 3506964"/>
              <a:gd name="connsiteY3" fmla="*/ 3057282 h 4785491"/>
              <a:gd name="connsiteX4" fmla="*/ 1081961 w 3506964"/>
              <a:gd name="connsiteY4" fmla="*/ 4682882 h 4785491"/>
              <a:gd name="connsiteX0" fmla="*/ 1083737 w 3508740"/>
              <a:gd name="connsiteY0" fmla="*/ 4682882 h 4683037"/>
              <a:gd name="connsiteX1" fmla="*/ 1832 w 3508740"/>
              <a:gd name="connsiteY1" fmla="*/ 3100825 h 4683037"/>
              <a:gd name="connsiteX2" fmla="*/ 2249122 w 3508740"/>
              <a:gd name="connsiteY2" fmla="*/ 18 h 4683037"/>
              <a:gd name="connsiteX3" fmla="*/ 3480363 w 3508740"/>
              <a:gd name="connsiteY3" fmla="*/ 3057282 h 4683037"/>
              <a:gd name="connsiteX4" fmla="*/ 1083737 w 3508740"/>
              <a:gd name="connsiteY4" fmla="*/ 4682882 h 4683037"/>
              <a:gd name="connsiteX0" fmla="*/ 1084720 w 3544082"/>
              <a:gd name="connsiteY0" fmla="*/ 4696554 h 4696709"/>
              <a:gd name="connsiteX1" fmla="*/ 2815 w 3544082"/>
              <a:gd name="connsiteY1" fmla="*/ 3114497 h 4696709"/>
              <a:gd name="connsiteX2" fmla="*/ 2250105 w 3544082"/>
              <a:gd name="connsiteY2" fmla="*/ 13690 h 4696709"/>
              <a:gd name="connsiteX3" fmla="*/ 3481346 w 3544082"/>
              <a:gd name="connsiteY3" fmla="*/ 3070954 h 4696709"/>
              <a:gd name="connsiteX4" fmla="*/ 1084720 w 3544082"/>
              <a:gd name="connsiteY4" fmla="*/ 4696554 h 4696709"/>
              <a:gd name="connsiteX0" fmla="*/ 1084720 w 3536901"/>
              <a:gd name="connsiteY0" fmla="*/ 4696554 h 4908148"/>
              <a:gd name="connsiteX1" fmla="*/ 2815 w 3536901"/>
              <a:gd name="connsiteY1" fmla="*/ 3114497 h 4908148"/>
              <a:gd name="connsiteX2" fmla="*/ 2250105 w 3536901"/>
              <a:gd name="connsiteY2" fmla="*/ 13690 h 4908148"/>
              <a:gd name="connsiteX3" fmla="*/ 3481346 w 3536901"/>
              <a:gd name="connsiteY3" fmla="*/ 3070954 h 4908148"/>
              <a:gd name="connsiteX4" fmla="*/ 1084720 w 3536901"/>
              <a:gd name="connsiteY4" fmla="*/ 4696554 h 4908148"/>
              <a:gd name="connsiteX0" fmla="*/ 1083631 w 2880199"/>
              <a:gd name="connsiteY0" fmla="*/ 4685324 h 4829551"/>
              <a:gd name="connsiteX1" fmla="*/ 1726 w 2880199"/>
              <a:gd name="connsiteY1" fmla="*/ 3103267 h 4829551"/>
              <a:gd name="connsiteX2" fmla="*/ 2249016 w 2880199"/>
              <a:gd name="connsiteY2" fmla="*/ 2460 h 4829551"/>
              <a:gd name="connsiteX3" fmla="*/ 2809201 w 2880199"/>
              <a:gd name="connsiteY3" fmla="*/ 2914581 h 4829551"/>
              <a:gd name="connsiteX4" fmla="*/ 1083631 w 2880199"/>
              <a:gd name="connsiteY4" fmla="*/ 4685324 h 4829551"/>
              <a:gd name="connsiteX0" fmla="*/ 1083631 w 2820818"/>
              <a:gd name="connsiteY0" fmla="*/ 4685136 h 4820744"/>
              <a:gd name="connsiteX1" fmla="*/ 1726 w 2820818"/>
              <a:gd name="connsiteY1" fmla="*/ 3103079 h 4820744"/>
              <a:gd name="connsiteX2" fmla="*/ 2249016 w 2820818"/>
              <a:gd name="connsiteY2" fmla="*/ 2272 h 4820744"/>
              <a:gd name="connsiteX3" fmla="*/ 2809201 w 2820818"/>
              <a:gd name="connsiteY3" fmla="*/ 2914393 h 4820744"/>
              <a:gd name="connsiteX4" fmla="*/ 1083631 w 2820818"/>
              <a:gd name="connsiteY4" fmla="*/ 4685136 h 4820744"/>
              <a:gd name="connsiteX0" fmla="*/ 1084781 w 3015036"/>
              <a:gd name="connsiteY0" fmla="*/ 4683618 h 4819226"/>
              <a:gd name="connsiteX1" fmla="*/ 2876 w 3015036"/>
              <a:gd name="connsiteY1" fmla="*/ 3101561 h 4819226"/>
              <a:gd name="connsiteX2" fmla="*/ 2250166 w 3015036"/>
              <a:gd name="connsiteY2" fmla="*/ 754 h 4819226"/>
              <a:gd name="connsiteX3" fmla="*/ 2810351 w 3015036"/>
              <a:gd name="connsiteY3" fmla="*/ 2912875 h 4819226"/>
              <a:gd name="connsiteX4" fmla="*/ 1084781 w 3015036"/>
              <a:gd name="connsiteY4" fmla="*/ 4683618 h 4819226"/>
              <a:gd name="connsiteX0" fmla="*/ 1082402 w 2808757"/>
              <a:gd name="connsiteY0" fmla="*/ 4697476 h 4698342"/>
              <a:gd name="connsiteX1" fmla="*/ 497 w 2808757"/>
              <a:gd name="connsiteY1" fmla="*/ 3115419 h 4698342"/>
              <a:gd name="connsiteX2" fmla="*/ 1206966 w 2808757"/>
              <a:gd name="connsiteY2" fmla="*/ 98 h 4698342"/>
              <a:gd name="connsiteX3" fmla="*/ 2807972 w 2808757"/>
              <a:gd name="connsiteY3" fmla="*/ 2926733 h 4698342"/>
              <a:gd name="connsiteX4" fmla="*/ 1082402 w 2808757"/>
              <a:gd name="connsiteY4" fmla="*/ 4697476 h 4698342"/>
              <a:gd name="connsiteX0" fmla="*/ 1365343 w 3223324"/>
              <a:gd name="connsiteY0" fmla="*/ 4702972 h 4703838"/>
              <a:gd name="connsiteX1" fmla="*/ 283438 w 3223324"/>
              <a:gd name="connsiteY1" fmla="*/ 3120915 h 4703838"/>
              <a:gd name="connsiteX2" fmla="*/ 1489907 w 3223324"/>
              <a:gd name="connsiteY2" fmla="*/ 5594 h 4703838"/>
              <a:gd name="connsiteX3" fmla="*/ 3090913 w 3223324"/>
              <a:gd name="connsiteY3" fmla="*/ 2932229 h 4703838"/>
              <a:gd name="connsiteX4" fmla="*/ 1365343 w 3223324"/>
              <a:gd name="connsiteY4" fmla="*/ 4702972 h 4703838"/>
              <a:gd name="connsiteX0" fmla="*/ 1102484 w 2830390"/>
              <a:gd name="connsiteY0" fmla="*/ 4698335 h 4699201"/>
              <a:gd name="connsiteX1" fmla="*/ 20579 w 2830390"/>
              <a:gd name="connsiteY1" fmla="*/ 3116278 h 4699201"/>
              <a:gd name="connsiteX2" fmla="*/ 1227048 w 2830390"/>
              <a:gd name="connsiteY2" fmla="*/ 957 h 4699201"/>
              <a:gd name="connsiteX3" fmla="*/ 2828054 w 2830390"/>
              <a:gd name="connsiteY3" fmla="*/ 2927592 h 4699201"/>
              <a:gd name="connsiteX4" fmla="*/ 1102484 w 2830390"/>
              <a:gd name="connsiteY4" fmla="*/ 4698335 h 4699201"/>
              <a:gd name="connsiteX0" fmla="*/ 1369863 w 3095720"/>
              <a:gd name="connsiteY0" fmla="*/ 4697541 h 4697937"/>
              <a:gd name="connsiteX1" fmla="*/ 363 w 3095720"/>
              <a:gd name="connsiteY1" fmla="*/ 3057427 h 4697937"/>
              <a:gd name="connsiteX2" fmla="*/ 1494427 w 3095720"/>
              <a:gd name="connsiteY2" fmla="*/ 163 h 4697937"/>
              <a:gd name="connsiteX3" fmla="*/ 3095433 w 3095720"/>
              <a:gd name="connsiteY3" fmla="*/ 2926798 h 4697937"/>
              <a:gd name="connsiteX4" fmla="*/ 1369863 w 3095720"/>
              <a:gd name="connsiteY4" fmla="*/ 4697541 h 4697937"/>
              <a:gd name="connsiteX0" fmla="*/ 1376308 w 3102166"/>
              <a:gd name="connsiteY0" fmla="*/ 4697541 h 4775450"/>
              <a:gd name="connsiteX1" fmla="*/ 6808 w 3102166"/>
              <a:gd name="connsiteY1" fmla="*/ 3057427 h 4775450"/>
              <a:gd name="connsiteX2" fmla="*/ 1500872 w 3102166"/>
              <a:gd name="connsiteY2" fmla="*/ 163 h 4775450"/>
              <a:gd name="connsiteX3" fmla="*/ 3101878 w 3102166"/>
              <a:gd name="connsiteY3" fmla="*/ 2926798 h 4775450"/>
              <a:gd name="connsiteX4" fmla="*/ 1376308 w 3102166"/>
              <a:gd name="connsiteY4" fmla="*/ 4697541 h 4775450"/>
              <a:gd name="connsiteX0" fmla="*/ 1567214 w 3293080"/>
              <a:gd name="connsiteY0" fmla="*/ 4698251 h 4700447"/>
              <a:gd name="connsiteX1" fmla="*/ 5984 w 3293080"/>
              <a:gd name="connsiteY1" fmla="*/ 2767852 h 4700447"/>
              <a:gd name="connsiteX2" fmla="*/ 1691778 w 3293080"/>
              <a:gd name="connsiteY2" fmla="*/ 873 h 4700447"/>
              <a:gd name="connsiteX3" fmla="*/ 3292784 w 3293080"/>
              <a:gd name="connsiteY3" fmla="*/ 2927508 h 4700447"/>
              <a:gd name="connsiteX4" fmla="*/ 1567214 w 3293080"/>
              <a:gd name="connsiteY4" fmla="*/ 4698251 h 4700447"/>
              <a:gd name="connsiteX0" fmla="*/ 2056523 w 3292631"/>
              <a:gd name="connsiteY0" fmla="*/ 4712155 h 4712661"/>
              <a:gd name="connsiteX1" fmla="*/ 2272 w 3292631"/>
              <a:gd name="connsiteY1" fmla="*/ 2767241 h 4712661"/>
              <a:gd name="connsiteX2" fmla="*/ 1688066 w 3292631"/>
              <a:gd name="connsiteY2" fmla="*/ 262 h 4712661"/>
              <a:gd name="connsiteX3" fmla="*/ 3289072 w 3292631"/>
              <a:gd name="connsiteY3" fmla="*/ 2926897 h 4712661"/>
              <a:gd name="connsiteX4" fmla="*/ 2056523 w 3292631"/>
              <a:gd name="connsiteY4" fmla="*/ 4712155 h 4712661"/>
              <a:gd name="connsiteX0" fmla="*/ 2056523 w 3302705"/>
              <a:gd name="connsiteY0" fmla="*/ 4712155 h 4715418"/>
              <a:gd name="connsiteX1" fmla="*/ 2272 w 3302705"/>
              <a:gd name="connsiteY1" fmla="*/ 2767241 h 4715418"/>
              <a:gd name="connsiteX2" fmla="*/ 1688066 w 3302705"/>
              <a:gd name="connsiteY2" fmla="*/ 262 h 4715418"/>
              <a:gd name="connsiteX3" fmla="*/ 3289072 w 3302705"/>
              <a:gd name="connsiteY3" fmla="*/ 2926897 h 4715418"/>
              <a:gd name="connsiteX4" fmla="*/ 2056523 w 3302705"/>
              <a:gd name="connsiteY4" fmla="*/ 4712155 h 4715418"/>
              <a:gd name="connsiteX0" fmla="*/ 2054294 w 3300476"/>
              <a:gd name="connsiteY0" fmla="*/ 4712344 h 4721235"/>
              <a:gd name="connsiteX1" fmla="*/ 43 w 3300476"/>
              <a:gd name="connsiteY1" fmla="*/ 2767430 h 4721235"/>
              <a:gd name="connsiteX2" fmla="*/ 1685837 w 3300476"/>
              <a:gd name="connsiteY2" fmla="*/ 451 h 4721235"/>
              <a:gd name="connsiteX3" fmla="*/ 3286843 w 3300476"/>
              <a:gd name="connsiteY3" fmla="*/ 2927086 h 4721235"/>
              <a:gd name="connsiteX4" fmla="*/ 2054294 w 3300476"/>
              <a:gd name="connsiteY4" fmla="*/ 4712344 h 4721235"/>
              <a:gd name="connsiteX0" fmla="*/ 2054276 w 3290384"/>
              <a:gd name="connsiteY0" fmla="*/ 4714774 h 4717440"/>
              <a:gd name="connsiteX1" fmla="*/ 25 w 3290384"/>
              <a:gd name="connsiteY1" fmla="*/ 2552146 h 4717440"/>
              <a:gd name="connsiteX2" fmla="*/ 1685819 w 3290384"/>
              <a:gd name="connsiteY2" fmla="*/ 2881 h 4717440"/>
              <a:gd name="connsiteX3" fmla="*/ 3286825 w 3290384"/>
              <a:gd name="connsiteY3" fmla="*/ 2929516 h 4717440"/>
              <a:gd name="connsiteX4" fmla="*/ 2054276 w 3290384"/>
              <a:gd name="connsiteY4" fmla="*/ 4714774 h 4717440"/>
              <a:gd name="connsiteX0" fmla="*/ 2054276 w 3633526"/>
              <a:gd name="connsiteY0" fmla="*/ 4714774 h 4719669"/>
              <a:gd name="connsiteX1" fmla="*/ 25 w 3633526"/>
              <a:gd name="connsiteY1" fmla="*/ 2552146 h 4719669"/>
              <a:gd name="connsiteX2" fmla="*/ 1685819 w 3633526"/>
              <a:gd name="connsiteY2" fmla="*/ 2881 h 4719669"/>
              <a:gd name="connsiteX3" fmla="*/ 3286825 w 3633526"/>
              <a:gd name="connsiteY3" fmla="*/ 2929516 h 4719669"/>
              <a:gd name="connsiteX4" fmla="*/ 2054276 w 3633526"/>
              <a:gd name="connsiteY4" fmla="*/ 4714774 h 4719669"/>
              <a:gd name="connsiteX0" fmla="*/ 2054276 w 3633526"/>
              <a:gd name="connsiteY0" fmla="*/ 4754243 h 4759138"/>
              <a:gd name="connsiteX1" fmla="*/ 25 w 3633526"/>
              <a:gd name="connsiteY1" fmla="*/ 2591615 h 4759138"/>
              <a:gd name="connsiteX2" fmla="*/ 1685819 w 3633526"/>
              <a:gd name="connsiteY2" fmla="*/ 42350 h 4759138"/>
              <a:gd name="connsiteX3" fmla="*/ 2314483 w 3633526"/>
              <a:gd name="connsiteY3" fmla="*/ 1140185 h 4759138"/>
              <a:gd name="connsiteX4" fmla="*/ 3286825 w 3633526"/>
              <a:gd name="connsiteY4" fmla="*/ 2968985 h 4759138"/>
              <a:gd name="connsiteX5" fmla="*/ 2054276 w 3633526"/>
              <a:gd name="connsiteY5" fmla="*/ 4754243 h 4759138"/>
              <a:gd name="connsiteX0" fmla="*/ 2055143 w 3634393"/>
              <a:gd name="connsiteY0" fmla="*/ 3617146 h 3622041"/>
              <a:gd name="connsiteX1" fmla="*/ 892 w 3634393"/>
              <a:gd name="connsiteY1" fmla="*/ 1454518 h 3622041"/>
              <a:gd name="connsiteX2" fmla="*/ 2315350 w 3634393"/>
              <a:gd name="connsiteY2" fmla="*/ 3088 h 3622041"/>
              <a:gd name="connsiteX3" fmla="*/ 3287692 w 3634393"/>
              <a:gd name="connsiteY3" fmla="*/ 1831888 h 3622041"/>
              <a:gd name="connsiteX4" fmla="*/ 2055143 w 3634393"/>
              <a:gd name="connsiteY4" fmla="*/ 3617146 h 3622041"/>
              <a:gd name="connsiteX0" fmla="*/ 2055094 w 3289140"/>
              <a:gd name="connsiteY0" fmla="*/ 4298172 h 4300684"/>
              <a:gd name="connsiteX1" fmla="*/ 843 w 3289140"/>
              <a:gd name="connsiteY1" fmla="*/ 2135544 h 4300684"/>
              <a:gd name="connsiteX2" fmla="*/ 1822281 w 3289140"/>
              <a:gd name="connsiteY2" fmla="*/ 1942 h 4300684"/>
              <a:gd name="connsiteX3" fmla="*/ 3287643 w 3289140"/>
              <a:gd name="connsiteY3" fmla="*/ 2512914 h 4300684"/>
              <a:gd name="connsiteX4" fmla="*/ 2055094 w 3289140"/>
              <a:gd name="connsiteY4" fmla="*/ 4298172 h 4300684"/>
              <a:gd name="connsiteX0" fmla="*/ 2054948 w 3288994"/>
              <a:gd name="connsiteY0" fmla="*/ 4375101 h 4377613"/>
              <a:gd name="connsiteX1" fmla="*/ 697 w 3288994"/>
              <a:gd name="connsiteY1" fmla="*/ 2212473 h 4377613"/>
              <a:gd name="connsiteX2" fmla="*/ 1822135 w 3288994"/>
              <a:gd name="connsiteY2" fmla="*/ 78871 h 4377613"/>
              <a:gd name="connsiteX3" fmla="*/ 3287497 w 3288994"/>
              <a:gd name="connsiteY3" fmla="*/ 2589843 h 4377613"/>
              <a:gd name="connsiteX4" fmla="*/ 2054948 w 3288994"/>
              <a:gd name="connsiteY4" fmla="*/ 4375101 h 4377613"/>
              <a:gd name="connsiteX0" fmla="*/ 2055929 w 3289975"/>
              <a:gd name="connsiteY0" fmla="*/ 4297198 h 4299710"/>
              <a:gd name="connsiteX1" fmla="*/ 1678 w 3289975"/>
              <a:gd name="connsiteY1" fmla="*/ 2134570 h 4299710"/>
              <a:gd name="connsiteX2" fmla="*/ 1823116 w 3289975"/>
              <a:gd name="connsiteY2" fmla="*/ 968 h 4299710"/>
              <a:gd name="connsiteX3" fmla="*/ 3288478 w 3289975"/>
              <a:gd name="connsiteY3" fmla="*/ 2511940 h 4299710"/>
              <a:gd name="connsiteX4" fmla="*/ 2055929 w 3289975"/>
              <a:gd name="connsiteY4" fmla="*/ 4297198 h 4299710"/>
              <a:gd name="connsiteX0" fmla="*/ 2055022 w 2542232"/>
              <a:gd name="connsiteY0" fmla="*/ 4297082 h 4298078"/>
              <a:gd name="connsiteX1" fmla="*/ 771 w 2542232"/>
              <a:gd name="connsiteY1" fmla="*/ 2134454 h 4298078"/>
              <a:gd name="connsiteX2" fmla="*/ 1822209 w 2542232"/>
              <a:gd name="connsiteY2" fmla="*/ 852 h 4298078"/>
              <a:gd name="connsiteX3" fmla="*/ 2534347 w 2542232"/>
              <a:gd name="connsiteY3" fmla="*/ 2381195 h 4298078"/>
              <a:gd name="connsiteX4" fmla="*/ 2055022 w 2542232"/>
              <a:gd name="connsiteY4" fmla="*/ 4297082 h 4298078"/>
              <a:gd name="connsiteX0" fmla="*/ 2060691 w 2843869"/>
              <a:gd name="connsiteY0" fmla="*/ 4297780 h 4298776"/>
              <a:gd name="connsiteX1" fmla="*/ 6440 w 2843869"/>
              <a:gd name="connsiteY1" fmla="*/ 2135152 h 4298776"/>
              <a:gd name="connsiteX2" fmla="*/ 1827878 w 2843869"/>
              <a:gd name="connsiteY2" fmla="*/ 1550 h 4298776"/>
              <a:gd name="connsiteX3" fmla="*/ 2540016 w 2843869"/>
              <a:gd name="connsiteY3" fmla="*/ 2381893 h 4298776"/>
              <a:gd name="connsiteX4" fmla="*/ 2060691 w 2843869"/>
              <a:gd name="connsiteY4" fmla="*/ 4297780 h 4298776"/>
              <a:gd name="connsiteX0" fmla="*/ 2060691 w 2843869"/>
              <a:gd name="connsiteY0" fmla="*/ 4297780 h 4297925"/>
              <a:gd name="connsiteX1" fmla="*/ 6440 w 2843869"/>
              <a:gd name="connsiteY1" fmla="*/ 2135152 h 4297925"/>
              <a:gd name="connsiteX2" fmla="*/ 1827878 w 2843869"/>
              <a:gd name="connsiteY2" fmla="*/ 1550 h 4297925"/>
              <a:gd name="connsiteX3" fmla="*/ 2540016 w 2843869"/>
              <a:gd name="connsiteY3" fmla="*/ 2381893 h 4297925"/>
              <a:gd name="connsiteX4" fmla="*/ 2060691 w 2843869"/>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25"/>
              <a:gd name="connsiteX1" fmla="*/ 6440 w 2991642"/>
              <a:gd name="connsiteY1" fmla="*/ 2135152 h 4297925"/>
              <a:gd name="connsiteX2" fmla="*/ 1827878 w 2991642"/>
              <a:gd name="connsiteY2" fmla="*/ 1550 h 4297925"/>
              <a:gd name="connsiteX3" fmla="*/ 2540016 w 2991642"/>
              <a:gd name="connsiteY3" fmla="*/ 2381893 h 4297925"/>
              <a:gd name="connsiteX4" fmla="*/ 2060691 w 2991642"/>
              <a:gd name="connsiteY4" fmla="*/ 4297780 h 4297925"/>
              <a:gd name="connsiteX0" fmla="*/ 2060691 w 2991642"/>
              <a:gd name="connsiteY0" fmla="*/ 4297780 h 4297998"/>
              <a:gd name="connsiteX1" fmla="*/ 6440 w 2991642"/>
              <a:gd name="connsiteY1" fmla="*/ 2135152 h 4297998"/>
              <a:gd name="connsiteX2" fmla="*/ 1827878 w 2991642"/>
              <a:gd name="connsiteY2" fmla="*/ 1550 h 4297998"/>
              <a:gd name="connsiteX3" fmla="*/ 2540016 w 2991642"/>
              <a:gd name="connsiteY3" fmla="*/ 2381893 h 4297998"/>
              <a:gd name="connsiteX4" fmla="*/ 2060691 w 2991642"/>
              <a:gd name="connsiteY4" fmla="*/ 4297780 h 4297998"/>
              <a:gd name="connsiteX0" fmla="*/ 2183130 w 3114081"/>
              <a:gd name="connsiteY0" fmla="*/ 4297780 h 4331908"/>
              <a:gd name="connsiteX1" fmla="*/ 375391 w 3114081"/>
              <a:gd name="connsiteY1" fmla="*/ 3501326 h 4331908"/>
              <a:gd name="connsiteX2" fmla="*/ 128879 w 3114081"/>
              <a:gd name="connsiteY2" fmla="*/ 2135152 h 4331908"/>
              <a:gd name="connsiteX3" fmla="*/ 1950317 w 3114081"/>
              <a:gd name="connsiteY3" fmla="*/ 1550 h 4331908"/>
              <a:gd name="connsiteX4" fmla="*/ 2662455 w 3114081"/>
              <a:gd name="connsiteY4" fmla="*/ 2381893 h 4331908"/>
              <a:gd name="connsiteX5" fmla="*/ 2183130 w 3114081"/>
              <a:gd name="connsiteY5" fmla="*/ 4297780 h 4331908"/>
              <a:gd name="connsiteX0" fmla="*/ 1808635 w 2739586"/>
              <a:gd name="connsiteY0" fmla="*/ 4309365 h 4366964"/>
              <a:gd name="connsiteX1" fmla="*/ 896 w 2739586"/>
              <a:gd name="connsiteY1" fmla="*/ 3512911 h 4366964"/>
              <a:gd name="connsiteX2" fmla="*/ 1575822 w 2739586"/>
              <a:gd name="connsiteY2" fmla="*/ 13135 h 4366964"/>
              <a:gd name="connsiteX3" fmla="*/ 2287960 w 2739586"/>
              <a:gd name="connsiteY3" fmla="*/ 2393478 h 4366964"/>
              <a:gd name="connsiteX4" fmla="*/ 1808635 w 2739586"/>
              <a:gd name="connsiteY4" fmla="*/ 4309365 h 4366964"/>
              <a:gd name="connsiteX0" fmla="*/ 1811335 w 2742286"/>
              <a:gd name="connsiteY0" fmla="*/ 4309365 h 4366964"/>
              <a:gd name="connsiteX1" fmla="*/ 3596 w 2742286"/>
              <a:gd name="connsiteY1" fmla="*/ 3512911 h 4366964"/>
              <a:gd name="connsiteX2" fmla="*/ 1578522 w 2742286"/>
              <a:gd name="connsiteY2" fmla="*/ 13135 h 4366964"/>
              <a:gd name="connsiteX3" fmla="*/ 2290660 w 2742286"/>
              <a:gd name="connsiteY3" fmla="*/ 2393478 h 4366964"/>
              <a:gd name="connsiteX4" fmla="*/ 1811335 w 2742286"/>
              <a:gd name="connsiteY4" fmla="*/ 4309365 h 4366964"/>
              <a:gd name="connsiteX0" fmla="*/ 2002680 w 2489494"/>
              <a:gd name="connsiteY0" fmla="*/ 4309365 h 4366964"/>
              <a:gd name="connsiteX1" fmla="*/ 3211 w 2489494"/>
              <a:gd name="connsiteY1" fmla="*/ 3512911 h 4366964"/>
              <a:gd name="connsiteX2" fmla="*/ 1769867 w 2489494"/>
              <a:gd name="connsiteY2" fmla="*/ 13135 h 4366964"/>
              <a:gd name="connsiteX3" fmla="*/ 2482005 w 2489494"/>
              <a:gd name="connsiteY3" fmla="*/ 2393478 h 4366964"/>
              <a:gd name="connsiteX4" fmla="*/ 2002680 w 2489494"/>
              <a:gd name="connsiteY4" fmla="*/ 4309365 h 4366964"/>
              <a:gd name="connsiteX0" fmla="*/ 2002680 w 2489494"/>
              <a:gd name="connsiteY0" fmla="*/ 4309365 h 5093859"/>
              <a:gd name="connsiteX1" fmla="*/ 3211 w 2489494"/>
              <a:gd name="connsiteY1" fmla="*/ 3512911 h 5093859"/>
              <a:gd name="connsiteX2" fmla="*/ 1769867 w 2489494"/>
              <a:gd name="connsiteY2" fmla="*/ 13135 h 5093859"/>
              <a:gd name="connsiteX3" fmla="*/ 2482005 w 2489494"/>
              <a:gd name="connsiteY3" fmla="*/ 2393478 h 5093859"/>
              <a:gd name="connsiteX4" fmla="*/ 2002680 w 2489494"/>
              <a:gd name="connsiteY4" fmla="*/ 4309365 h 5093859"/>
              <a:gd name="connsiteX0" fmla="*/ 2063903 w 2550717"/>
              <a:gd name="connsiteY0" fmla="*/ 4309365 h 5254406"/>
              <a:gd name="connsiteX1" fmla="*/ 64434 w 2550717"/>
              <a:gd name="connsiteY1" fmla="*/ 3512911 h 5254406"/>
              <a:gd name="connsiteX2" fmla="*/ 1831090 w 2550717"/>
              <a:gd name="connsiteY2" fmla="*/ 13135 h 5254406"/>
              <a:gd name="connsiteX3" fmla="*/ 2543228 w 2550717"/>
              <a:gd name="connsiteY3" fmla="*/ 2393478 h 5254406"/>
              <a:gd name="connsiteX4" fmla="*/ 2063903 w 2550717"/>
              <a:gd name="connsiteY4" fmla="*/ 4309365 h 5254406"/>
              <a:gd name="connsiteX0" fmla="*/ 2063903 w 2741364"/>
              <a:gd name="connsiteY0" fmla="*/ 4309365 h 5258738"/>
              <a:gd name="connsiteX1" fmla="*/ 64434 w 2741364"/>
              <a:gd name="connsiteY1" fmla="*/ 3512911 h 5258738"/>
              <a:gd name="connsiteX2" fmla="*/ 1831090 w 2741364"/>
              <a:gd name="connsiteY2" fmla="*/ 13135 h 5258738"/>
              <a:gd name="connsiteX3" fmla="*/ 2543228 w 2741364"/>
              <a:gd name="connsiteY3" fmla="*/ 2393478 h 5258738"/>
              <a:gd name="connsiteX4" fmla="*/ 2063903 w 2741364"/>
              <a:gd name="connsiteY4" fmla="*/ 4309365 h 5258738"/>
              <a:gd name="connsiteX0" fmla="*/ 2063903 w 3018492"/>
              <a:gd name="connsiteY0" fmla="*/ 4309751 h 5259124"/>
              <a:gd name="connsiteX1" fmla="*/ 64434 w 3018492"/>
              <a:gd name="connsiteY1" fmla="*/ 3513297 h 5259124"/>
              <a:gd name="connsiteX2" fmla="*/ 1831090 w 3018492"/>
              <a:gd name="connsiteY2" fmla="*/ 13521 h 5259124"/>
              <a:gd name="connsiteX3" fmla="*/ 2543228 w 3018492"/>
              <a:gd name="connsiteY3" fmla="*/ 2393864 h 5259124"/>
              <a:gd name="connsiteX4" fmla="*/ 2063903 w 3018492"/>
              <a:gd name="connsiteY4" fmla="*/ 4309751 h 5259124"/>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91638 w 3046227"/>
              <a:gd name="connsiteY0" fmla="*/ 4298338 h 5247711"/>
              <a:gd name="connsiteX1" fmla="*/ 92169 w 3046227"/>
              <a:gd name="connsiteY1" fmla="*/ 3501884 h 5247711"/>
              <a:gd name="connsiteX2" fmla="*/ 1858825 w 3046227"/>
              <a:gd name="connsiteY2" fmla="*/ 2108 h 5247711"/>
              <a:gd name="connsiteX3" fmla="*/ 2570963 w 3046227"/>
              <a:gd name="connsiteY3" fmla="*/ 2382451 h 5247711"/>
              <a:gd name="connsiteX4" fmla="*/ 2091638 w 3046227"/>
              <a:gd name="connsiteY4" fmla="*/ 4298338 h 5247711"/>
              <a:gd name="connsiteX0" fmla="*/ 2042523 w 2997112"/>
              <a:gd name="connsiteY0" fmla="*/ 4296504 h 4382593"/>
              <a:gd name="connsiteX1" fmla="*/ 43054 w 2997112"/>
              <a:gd name="connsiteY1" fmla="*/ 3500050 h 4382593"/>
              <a:gd name="connsiteX2" fmla="*/ 1809710 w 2997112"/>
              <a:gd name="connsiteY2" fmla="*/ 274 h 4382593"/>
              <a:gd name="connsiteX3" fmla="*/ 2521848 w 2997112"/>
              <a:gd name="connsiteY3" fmla="*/ 2380617 h 4382593"/>
              <a:gd name="connsiteX4" fmla="*/ 2042523 w 2997112"/>
              <a:gd name="connsiteY4" fmla="*/ 4296504 h 4382593"/>
              <a:gd name="connsiteX0" fmla="*/ 2167667 w 3122256"/>
              <a:gd name="connsiteY0" fmla="*/ 4297147 h 5043364"/>
              <a:gd name="connsiteX1" fmla="*/ 168198 w 3122256"/>
              <a:gd name="connsiteY1" fmla="*/ 3500693 h 5043364"/>
              <a:gd name="connsiteX2" fmla="*/ 1934854 w 3122256"/>
              <a:gd name="connsiteY2" fmla="*/ 917 h 5043364"/>
              <a:gd name="connsiteX3" fmla="*/ 2646992 w 3122256"/>
              <a:gd name="connsiteY3" fmla="*/ 2381260 h 5043364"/>
              <a:gd name="connsiteX4" fmla="*/ 2167667 w 3122256"/>
              <a:gd name="connsiteY4" fmla="*/ 4297147 h 5043364"/>
              <a:gd name="connsiteX0" fmla="*/ 2138158 w 3092747"/>
              <a:gd name="connsiteY0" fmla="*/ 4296727 h 4763056"/>
              <a:gd name="connsiteX1" fmla="*/ 138689 w 3092747"/>
              <a:gd name="connsiteY1" fmla="*/ 3500273 h 4763056"/>
              <a:gd name="connsiteX2" fmla="*/ 1905345 w 3092747"/>
              <a:gd name="connsiteY2" fmla="*/ 497 h 4763056"/>
              <a:gd name="connsiteX3" fmla="*/ 2617483 w 3092747"/>
              <a:gd name="connsiteY3" fmla="*/ 2380840 h 4763056"/>
              <a:gd name="connsiteX4" fmla="*/ 2138158 w 3092747"/>
              <a:gd name="connsiteY4" fmla="*/ 4296727 h 4763056"/>
              <a:gd name="connsiteX0" fmla="*/ 2119096 w 3073685"/>
              <a:gd name="connsiteY0" fmla="*/ 4296603 h 4576293"/>
              <a:gd name="connsiteX1" fmla="*/ 119627 w 3073685"/>
              <a:gd name="connsiteY1" fmla="*/ 3500149 h 4576293"/>
              <a:gd name="connsiteX2" fmla="*/ 1886283 w 3073685"/>
              <a:gd name="connsiteY2" fmla="*/ 373 h 4576293"/>
              <a:gd name="connsiteX3" fmla="*/ 2598421 w 3073685"/>
              <a:gd name="connsiteY3" fmla="*/ 2380716 h 4576293"/>
              <a:gd name="connsiteX4" fmla="*/ 2119096 w 3073685"/>
              <a:gd name="connsiteY4" fmla="*/ 4296603 h 4576293"/>
              <a:gd name="connsiteX0" fmla="*/ 2191767 w 2974257"/>
              <a:gd name="connsiteY0" fmla="*/ 4303484 h 4431377"/>
              <a:gd name="connsiteX1" fmla="*/ 82739 w 2974257"/>
              <a:gd name="connsiteY1" fmla="*/ 3187716 h 4431377"/>
              <a:gd name="connsiteX2" fmla="*/ 1958954 w 2974257"/>
              <a:gd name="connsiteY2" fmla="*/ 7254 h 4431377"/>
              <a:gd name="connsiteX3" fmla="*/ 2671092 w 2974257"/>
              <a:gd name="connsiteY3" fmla="*/ 2387597 h 4431377"/>
              <a:gd name="connsiteX4" fmla="*/ 2191767 w 2974257"/>
              <a:gd name="connsiteY4" fmla="*/ 4303484 h 4431377"/>
              <a:gd name="connsiteX0" fmla="*/ 2184554 w 2967044"/>
              <a:gd name="connsiteY0" fmla="*/ 4303484 h 4431377"/>
              <a:gd name="connsiteX1" fmla="*/ 75526 w 2967044"/>
              <a:gd name="connsiteY1" fmla="*/ 3187716 h 4431377"/>
              <a:gd name="connsiteX2" fmla="*/ 1951741 w 2967044"/>
              <a:gd name="connsiteY2" fmla="*/ 7254 h 4431377"/>
              <a:gd name="connsiteX3" fmla="*/ 2663879 w 2967044"/>
              <a:gd name="connsiteY3" fmla="*/ 2387597 h 4431377"/>
              <a:gd name="connsiteX4" fmla="*/ 2184554 w 2967044"/>
              <a:gd name="connsiteY4" fmla="*/ 4303484 h 4431377"/>
              <a:gd name="connsiteX0" fmla="*/ 2184554 w 2967045"/>
              <a:gd name="connsiteY0" fmla="*/ 4296686 h 4424579"/>
              <a:gd name="connsiteX1" fmla="*/ 75526 w 2967045"/>
              <a:gd name="connsiteY1" fmla="*/ 3180918 h 4424579"/>
              <a:gd name="connsiteX2" fmla="*/ 1951741 w 2967045"/>
              <a:gd name="connsiteY2" fmla="*/ 456 h 4424579"/>
              <a:gd name="connsiteX3" fmla="*/ 2663879 w 2967045"/>
              <a:gd name="connsiteY3" fmla="*/ 2380799 h 4424579"/>
              <a:gd name="connsiteX4" fmla="*/ 2184554 w 2967045"/>
              <a:gd name="connsiteY4" fmla="*/ 4296686 h 4424579"/>
              <a:gd name="connsiteX0" fmla="*/ 2184554 w 2835344"/>
              <a:gd name="connsiteY0" fmla="*/ 4296642 h 4411741"/>
              <a:gd name="connsiteX1" fmla="*/ 75526 w 2835344"/>
              <a:gd name="connsiteY1" fmla="*/ 3180874 h 4411741"/>
              <a:gd name="connsiteX2" fmla="*/ 1951741 w 2835344"/>
              <a:gd name="connsiteY2" fmla="*/ 412 h 4411741"/>
              <a:gd name="connsiteX3" fmla="*/ 2499539 w 2835344"/>
              <a:gd name="connsiteY3" fmla="*/ 2554927 h 4411741"/>
              <a:gd name="connsiteX4" fmla="*/ 2184554 w 2835344"/>
              <a:gd name="connsiteY4" fmla="*/ 4296642 h 4411741"/>
              <a:gd name="connsiteX0" fmla="*/ 2214193 w 2864983"/>
              <a:gd name="connsiteY0" fmla="*/ 4296642 h 4411741"/>
              <a:gd name="connsiteX1" fmla="*/ 105165 w 2864983"/>
              <a:gd name="connsiteY1" fmla="*/ 3180874 h 4411741"/>
              <a:gd name="connsiteX2" fmla="*/ 1981380 w 2864983"/>
              <a:gd name="connsiteY2" fmla="*/ 412 h 4411741"/>
              <a:gd name="connsiteX3" fmla="*/ 2529178 w 2864983"/>
              <a:gd name="connsiteY3" fmla="*/ 2554927 h 4411741"/>
              <a:gd name="connsiteX4" fmla="*/ 2214193 w 2864983"/>
              <a:gd name="connsiteY4" fmla="*/ 4296642 h 4411741"/>
              <a:gd name="connsiteX0" fmla="*/ 2118015 w 2768805"/>
              <a:gd name="connsiteY0" fmla="*/ 4629185 h 4744284"/>
              <a:gd name="connsiteX1" fmla="*/ 8987 w 2768805"/>
              <a:gd name="connsiteY1" fmla="*/ 3513417 h 4744284"/>
              <a:gd name="connsiteX2" fmla="*/ 1378485 w 2768805"/>
              <a:gd name="connsiteY2" fmla="*/ 378332 h 4744284"/>
              <a:gd name="connsiteX3" fmla="*/ 1885202 w 2768805"/>
              <a:gd name="connsiteY3" fmla="*/ 332955 h 4744284"/>
              <a:gd name="connsiteX4" fmla="*/ 2433000 w 2768805"/>
              <a:gd name="connsiteY4" fmla="*/ 2887470 h 4744284"/>
              <a:gd name="connsiteX5" fmla="*/ 2118015 w 2768805"/>
              <a:gd name="connsiteY5" fmla="*/ 4629185 h 4744284"/>
              <a:gd name="connsiteX0" fmla="*/ 2118694 w 2496667"/>
              <a:gd name="connsiteY0" fmla="*/ 4254974 h 4370073"/>
              <a:gd name="connsiteX1" fmla="*/ 9666 w 2496667"/>
              <a:gd name="connsiteY1" fmla="*/ 3139206 h 4370073"/>
              <a:gd name="connsiteX2" fmla="*/ 1379164 w 2496667"/>
              <a:gd name="connsiteY2" fmla="*/ 4121 h 4370073"/>
              <a:gd name="connsiteX3" fmla="*/ 2433679 w 2496667"/>
              <a:gd name="connsiteY3" fmla="*/ 2513259 h 4370073"/>
              <a:gd name="connsiteX4" fmla="*/ 2118694 w 2496667"/>
              <a:gd name="connsiteY4" fmla="*/ 4254974 h 4370073"/>
              <a:gd name="connsiteX0" fmla="*/ 2118694 w 2496667"/>
              <a:gd name="connsiteY0" fmla="*/ 4257419 h 4372518"/>
              <a:gd name="connsiteX1" fmla="*/ 9666 w 2496667"/>
              <a:gd name="connsiteY1" fmla="*/ 3141651 h 4372518"/>
              <a:gd name="connsiteX2" fmla="*/ 1379164 w 2496667"/>
              <a:gd name="connsiteY2" fmla="*/ 6566 h 4372518"/>
              <a:gd name="connsiteX3" fmla="*/ 2433679 w 2496667"/>
              <a:gd name="connsiteY3" fmla="*/ 2515704 h 4372518"/>
              <a:gd name="connsiteX4" fmla="*/ 2118694 w 2496667"/>
              <a:gd name="connsiteY4" fmla="*/ 4257419 h 4372518"/>
              <a:gd name="connsiteX0" fmla="*/ 2146367 w 2524340"/>
              <a:gd name="connsiteY0" fmla="*/ 4257419 h 4372518"/>
              <a:gd name="connsiteX1" fmla="*/ 37339 w 2524340"/>
              <a:gd name="connsiteY1" fmla="*/ 3141651 h 4372518"/>
              <a:gd name="connsiteX2" fmla="*/ 1406837 w 2524340"/>
              <a:gd name="connsiteY2" fmla="*/ 6566 h 4372518"/>
              <a:gd name="connsiteX3" fmla="*/ 2461352 w 2524340"/>
              <a:gd name="connsiteY3" fmla="*/ 2515704 h 4372518"/>
              <a:gd name="connsiteX4" fmla="*/ 2146367 w 2524340"/>
              <a:gd name="connsiteY4" fmla="*/ 4257419 h 4372518"/>
              <a:gd name="connsiteX0" fmla="*/ 2155590 w 2533563"/>
              <a:gd name="connsiteY0" fmla="*/ 4257419 h 4372518"/>
              <a:gd name="connsiteX1" fmla="*/ 46562 w 2533563"/>
              <a:gd name="connsiteY1" fmla="*/ 3141651 h 4372518"/>
              <a:gd name="connsiteX2" fmla="*/ 1416060 w 2533563"/>
              <a:gd name="connsiteY2" fmla="*/ 6566 h 4372518"/>
              <a:gd name="connsiteX3" fmla="*/ 2470575 w 2533563"/>
              <a:gd name="connsiteY3" fmla="*/ 2515704 h 4372518"/>
              <a:gd name="connsiteX4" fmla="*/ 2155590 w 2533563"/>
              <a:gd name="connsiteY4" fmla="*/ 4257419 h 4372518"/>
              <a:gd name="connsiteX0" fmla="*/ 2187338 w 2568687"/>
              <a:gd name="connsiteY0" fmla="*/ 4250975 h 4366074"/>
              <a:gd name="connsiteX1" fmla="*/ 78310 w 2568687"/>
              <a:gd name="connsiteY1" fmla="*/ 3135207 h 4366074"/>
              <a:gd name="connsiteX2" fmla="*/ 1447808 w 2568687"/>
              <a:gd name="connsiteY2" fmla="*/ 122 h 4366074"/>
              <a:gd name="connsiteX3" fmla="*/ 2502323 w 2568687"/>
              <a:gd name="connsiteY3" fmla="*/ 2509260 h 4366074"/>
              <a:gd name="connsiteX4" fmla="*/ 2187338 w 2568687"/>
              <a:gd name="connsiteY4" fmla="*/ 4250975 h 4366074"/>
              <a:gd name="connsiteX0" fmla="*/ 2527372 w 2921452"/>
              <a:gd name="connsiteY0" fmla="*/ 4253945 h 4337879"/>
              <a:gd name="connsiteX1" fmla="*/ 7494 w 2921452"/>
              <a:gd name="connsiteY1" fmla="*/ 3051092 h 4337879"/>
              <a:gd name="connsiteX2" fmla="*/ 1787842 w 2921452"/>
              <a:gd name="connsiteY2" fmla="*/ 3092 h 4337879"/>
              <a:gd name="connsiteX3" fmla="*/ 2842357 w 2921452"/>
              <a:gd name="connsiteY3" fmla="*/ 2512230 h 4337879"/>
              <a:gd name="connsiteX4" fmla="*/ 2527372 w 2921452"/>
              <a:gd name="connsiteY4" fmla="*/ 4253945 h 4337879"/>
              <a:gd name="connsiteX0" fmla="*/ 2557170 w 2951250"/>
              <a:gd name="connsiteY0" fmla="*/ 4253945 h 4337879"/>
              <a:gd name="connsiteX1" fmla="*/ 37292 w 2951250"/>
              <a:gd name="connsiteY1" fmla="*/ 3051092 h 4337879"/>
              <a:gd name="connsiteX2" fmla="*/ 1817640 w 2951250"/>
              <a:gd name="connsiteY2" fmla="*/ 3092 h 4337879"/>
              <a:gd name="connsiteX3" fmla="*/ 2872155 w 2951250"/>
              <a:gd name="connsiteY3" fmla="*/ 2512230 h 4337879"/>
              <a:gd name="connsiteX4" fmla="*/ 2557170 w 2951250"/>
              <a:gd name="connsiteY4" fmla="*/ 4253945 h 4337879"/>
              <a:gd name="connsiteX0" fmla="*/ 2593916 w 2987996"/>
              <a:gd name="connsiteY0" fmla="*/ 4252307 h 4336241"/>
              <a:gd name="connsiteX1" fmla="*/ 74038 w 2987996"/>
              <a:gd name="connsiteY1" fmla="*/ 3049454 h 4336241"/>
              <a:gd name="connsiteX2" fmla="*/ 1854386 w 2987996"/>
              <a:gd name="connsiteY2" fmla="*/ 1454 h 4336241"/>
              <a:gd name="connsiteX3" fmla="*/ 2908901 w 2987996"/>
              <a:gd name="connsiteY3" fmla="*/ 2510592 h 4336241"/>
              <a:gd name="connsiteX4" fmla="*/ 2593916 w 2987996"/>
              <a:gd name="connsiteY4" fmla="*/ 4252307 h 4336241"/>
              <a:gd name="connsiteX0" fmla="*/ 2556467 w 2816451"/>
              <a:gd name="connsiteY0" fmla="*/ 4253945 h 4337879"/>
              <a:gd name="connsiteX1" fmla="*/ 36589 w 2816451"/>
              <a:gd name="connsiteY1" fmla="*/ 3051092 h 4337879"/>
              <a:gd name="connsiteX2" fmla="*/ 1816937 w 2816451"/>
              <a:gd name="connsiteY2" fmla="*/ 3092 h 4337879"/>
              <a:gd name="connsiteX3" fmla="*/ 2652332 w 2816451"/>
              <a:gd name="connsiteY3" fmla="*/ 2512230 h 4337879"/>
              <a:gd name="connsiteX4" fmla="*/ 2556467 w 2816451"/>
              <a:gd name="connsiteY4" fmla="*/ 4253945 h 4337879"/>
              <a:gd name="connsiteX0" fmla="*/ 2556467 w 2829183"/>
              <a:gd name="connsiteY0" fmla="*/ 4266741 h 4350675"/>
              <a:gd name="connsiteX1" fmla="*/ 36589 w 2829183"/>
              <a:gd name="connsiteY1" fmla="*/ 3063888 h 4350675"/>
              <a:gd name="connsiteX2" fmla="*/ 1816937 w 2829183"/>
              <a:gd name="connsiteY2" fmla="*/ 15888 h 4350675"/>
              <a:gd name="connsiteX3" fmla="*/ 2652332 w 2829183"/>
              <a:gd name="connsiteY3" fmla="*/ 2525026 h 4350675"/>
              <a:gd name="connsiteX4" fmla="*/ 2556467 w 2829183"/>
              <a:gd name="connsiteY4" fmla="*/ 4266741 h 4350675"/>
              <a:gd name="connsiteX0" fmla="*/ 2556467 w 2829183"/>
              <a:gd name="connsiteY0" fmla="*/ 4266741 h 4628058"/>
              <a:gd name="connsiteX1" fmla="*/ 36589 w 2829183"/>
              <a:gd name="connsiteY1" fmla="*/ 3063888 h 4628058"/>
              <a:gd name="connsiteX2" fmla="*/ 1816937 w 2829183"/>
              <a:gd name="connsiteY2" fmla="*/ 15888 h 4628058"/>
              <a:gd name="connsiteX3" fmla="*/ 2652332 w 2829183"/>
              <a:gd name="connsiteY3" fmla="*/ 2525026 h 4628058"/>
              <a:gd name="connsiteX4" fmla="*/ 2556467 w 2829183"/>
              <a:gd name="connsiteY4" fmla="*/ 4266741 h 4628058"/>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38711"/>
              <a:gd name="connsiteY0" fmla="*/ 4292266 h 4393402"/>
              <a:gd name="connsiteX1" fmla="*/ 35744 w 2638711"/>
              <a:gd name="connsiteY1" fmla="*/ 3089413 h 4393402"/>
              <a:gd name="connsiteX2" fmla="*/ 1816092 w 2638711"/>
              <a:gd name="connsiteY2" fmla="*/ 41413 h 4393402"/>
              <a:gd name="connsiteX3" fmla="*/ 2377587 w 2638711"/>
              <a:gd name="connsiteY3" fmla="*/ 2318322 h 4393402"/>
              <a:gd name="connsiteX4" fmla="*/ 2555622 w 2638711"/>
              <a:gd name="connsiteY4" fmla="*/ 4292266 h 4393402"/>
              <a:gd name="connsiteX0" fmla="*/ 2555622 w 2657076"/>
              <a:gd name="connsiteY0" fmla="*/ 4292266 h 4935268"/>
              <a:gd name="connsiteX1" fmla="*/ 35744 w 2657076"/>
              <a:gd name="connsiteY1" fmla="*/ 3089413 h 4935268"/>
              <a:gd name="connsiteX2" fmla="*/ 1816092 w 2657076"/>
              <a:gd name="connsiteY2" fmla="*/ 41413 h 4935268"/>
              <a:gd name="connsiteX3" fmla="*/ 2377587 w 2657076"/>
              <a:gd name="connsiteY3" fmla="*/ 2318322 h 4935268"/>
              <a:gd name="connsiteX4" fmla="*/ 2555622 w 2657076"/>
              <a:gd name="connsiteY4" fmla="*/ 4292266 h 4935268"/>
              <a:gd name="connsiteX0" fmla="*/ 2866282 w 2966955"/>
              <a:gd name="connsiteY0" fmla="*/ 4282720 h 4338151"/>
              <a:gd name="connsiteX1" fmla="*/ 31418 w 2966955"/>
              <a:gd name="connsiteY1" fmla="*/ 2920210 h 4338151"/>
              <a:gd name="connsiteX2" fmla="*/ 2126752 w 2966955"/>
              <a:gd name="connsiteY2" fmla="*/ 31867 h 4338151"/>
              <a:gd name="connsiteX3" fmla="*/ 2688247 w 2966955"/>
              <a:gd name="connsiteY3" fmla="*/ 2308776 h 4338151"/>
              <a:gd name="connsiteX4" fmla="*/ 2866282 w 2966955"/>
              <a:gd name="connsiteY4" fmla="*/ 4282720 h 4338151"/>
              <a:gd name="connsiteX0" fmla="*/ 2876333 w 3034879"/>
              <a:gd name="connsiteY0" fmla="*/ 4254125 h 4309556"/>
              <a:gd name="connsiteX1" fmla="*/ 41469 w 3034879"/>
              <a:gd name="connsiteY1" fmla="*/ 2891615 h 4309556"/>
              <a:gd name="connsiteX2" fmla="*/ 2136803 w 3034879"/>
              <a:gd name="connsiteY2" fmla="*/ 3272 h 4309556"/>
              <a:gd name="connsiteX3" fmla="*/ 2698298 w 3034879"/>
              <a:gd name="connsiteY3" fmla="*/ 2280181 h 4309556"/>
              <a:gd name="connsiteX4" fmla="*/ 2876333 w 3034879"/>
              <a:gd name="connsiteY4" fmla="*/ 4254125 h 4309556"/>
              <a:gd name="connsiteX0" fmla="*/ 2890028 w 3067706"/>
              <a:gd name="connsiteY0" fmla="*/ 4471840 h 4501406"/>
              <a:gd name="connsiteX1" fmla="*/ 41469 w 3067706"/>
              <a:gd name="connsiteY1" fmla="*/ 2891615 h 4501406"/>
              <a:gd name="connsiteX2" fmla="*/ 2136803 w 3067706"/>
              <a:gd name="connsiteY2" fmla="*/ 3272 h 4501406"/>
              <a:gd name="connsiteX3" fmla="*/ 2698298 w 3067706"/>
              <a:gd name="connsiteY3" fmla="*/ 2280181 h 4501406"/>
              <a:gd name="connsiteX4" fmla="*/ 2890028 w 3067706"/>
              <a:gd name="connsiteY4" fmla="*/ 4471840 h 4501406"/>
              <a:gd name="connsiteX0" fmla="*/ 2890028 w 3267321"/>
              <a:gd name="connsiteY0" fmla="*/ 4471840 h 4757538"/>
              <a:gd name="connsiteX1" fmla="*/ 41469 w 3267321"/>
              <a:gd name="connsiteY1" fmla="*/ 2891615 h 4757538"/>
              <a:gd name="connsiteX2" fmla="*/ 2136803 w 3267321"/>
              <a:gd name="connsiteY2" fmla="*/ 3272 h 4757538"/>
              <a:gd name="connsiteX3" fmla="*/ 2698298 w 3267321"/>
              <a:gd name="connsiteY3" fmla="*/ 2280181 h 4757538"/>
              <a:gd name="connsiteX4" fmla="*/ 2890028 w 3267321"/>
              <a:gd name="connsiteY4" fmla="*/ 4471840 h 4757538"/>
              <a:gd name="connsiteX0" fmla="*/ 2890028 w 3146150"/>
              <a:gd name="connsiteY0" fmla="*/ 4471840 h 4664576"/>
              <a:gd name="connsiteX1" fmla="*/ 41469 w 3146150"/>
              <a:gd name="connsiteY1" fmla="*/ 2891615 h 4664576"/>
              <a:gd name="connsiteX2" fmla="*/ 2136803 w 3146150"/>
              <a:gd name="connsiteY2" fmla="*/ 3272 h 4664576"/>
              <a:gd name="connsiteX3" fmla="*/ 2698298 w 3146150"/>
              <a:gd name="connsiteY3" fmla="*/ 2280181 h 4664576"/>
              <a:gd name="connsiteX4" fmla="*/ 2890028 w 3146150"/>
              <a:gd name="connsiteY4" fmla="*/ 4471840 h 4664576"/>
              <a:gd name="connsiteX0" fmla="*/ 2880916 w 3137038"/>
              <a:gd name="connsiteY0" fmla="*/ 4476871 h 4669607"/>
              <a:gd name="connsiteX1" fmla="*/ 32357 w 3137038"/>
              <a:gd name="connsiteY1" fmla="*/ 2896646 h 4669607"/>
              <a:gd name="connsiteX2" fmla="*/ 2127691 w 3137038"/>
              <a:gd name="connsiteY2" fmla="*/ 8303 h 4669607"/>
              <a:gd name="connsiteX3" fmla="*/ 2689186 w 3137038"/>
              <a:gd name="connsiteY3" fmla="*/ 2285212 h 4669607"/>
              <a:gd name="connsiteX4" fmla="*/ 2880916 w 3137038"/>
              <a:gd name="connsiteY4" fmla="*/ 4476871 h 4669607"/>
              <a:gd name="connsiteX0" fmla="*/ 3076373 w 3269102"/>
              <a:gd name="connsiteY0" fmla="*/ 4473977 h 4512269"/>
              <a:gd name="connsiteX1" fmla="*/ 22390 w 3269102"/>
              <a:gd name="connsiteY1" fmla="*/ 2951809 h 4512269"/>
              <a:gd name="connsiteX2" fmla="*/ 2323148 w 3269102"/>
              <a:gd name="connsiteY2" fmla="*/ 5409 h 4512269"/>
              <a:gd name="connsiteX3" fmla="*/ 2884643 w 3269102"/>
              <a:gd name="connsiteY3" fmla="*/ 2282318 h 4512269"/>
              <a:gd name="connsiteX4" fmla="*/ 3076373 w 3269102"/>
              <a:gd name="connsiteY4" fmla="*/ 4473977 h 4512269"/>
              <a:gd name="connsiteX0" fmla="*/ 3122406 w 3315135"/>
              <a:gd name="connsiteY0" fmla="*/ 4473977 h 4512269"/>
              <a:gd name="connsiteX1" fmla="*/ 68423 w 3315135"/>
              <a:gd name="connsiteY1" fmla="*/ 2951809 h 4512269"/>
              <a:gd name="connsiteX2" fmla="*/ 2369181 w 3315135"/>
              <a:gd name="connsiteY2" fmla="*/ 5409 h 4512269"/>
              <a:gd name="connsiteX3" fmla="*/ 2930676 w 3315135"/>
              <a:gd name="connsiteY3" fmla="*/ 2282318 h 4512269"/>
              <a:gd name="connsiteX4" fmla="*/ 3122406 w 3315135"/>
              <a:gd name="connsiteY4" fmla="*/ 4473977 h 4512269"/>
              <a:gd name="connsiteX0" fmla="*/ 3122406 w 3424734"/>
              <a:gd name="connsiteY0" fmla="*/ 4475173 h 4513465"/>
              <a:gd name="connsiteX1" fmla="*/ 68423 w 3424734"/>
              <a:gd name="connsiteY1" fmla="*/ 2953005 h 4513465"/>
              <a:gd name="connsiteX2" fmla="*/ 2369181 w 3424734"/>
              <a:gd name="connsiteY2" fmla="*/ 6605 h 4513465"/>
              <a:gd name="connsiteX3" fmla="*/ 2930676 w 3424734"/>
              <a:gd name="connsiteY3" fmla="*/ 2283514 h 4513465"/>
              <a:gd name="connsiteX4" fmla="*/ 3122406 w 3424734"/>
              <a:gd name="connsiteY4" fmla="*/ 4475173 h 4513465"/>
              <a:gd name="connsiteX0" fmla="*/ 3136022 w 3438350"/>
              <a:gd name="connsiteY0" fmla="*/ 4475247 h 4513539"/>
              <a:gd name="connsiteX1" fmla="*/ 82039 w 3438350"/>
              <a:gd name="connsiteY1" fmla="*/ 2953079 h 4513539"/>
              <a:gd name="connsiteX2" fmla="*/ 2382797 w 3438350"/>
              <a:gd name="connsiteY2" fmla="*/ 6679 h 4513539"/>
              <a:gd name="connsiteX3" fmla="*/ 2944292 w 3438350"/>
              <a:gd name="connsiteY3" fmla="*/ 2283588 h 4513539"/>
              <a:gd name="connsiteX4" fmla="*/ 3136022 w 3438350"/>
              <a:gd name="connsiteY4" fmla="*/ 4475247 h 4513539"/>
              <a:gd name="connsiteX0" fmla="*/ 3136022 w 3328751"/>
              <a:gd name="connsiteY0" fmla="*/ 4733434 h 4771726"/>
              <a:gd name="connsiteX1" fmla="*/ 82039 w 3328751"/>
              <a:gd name="connsiteY1" fmla="*/ 3211266 h 4771726"/>
              <a:gd name="connsiteX2" fmla="*/ 2382797 w 3328751"/>
              <a:gd name="connsiteY2" fmla="*/ 3609 h 4771726"/>
              <a:gd name="connsiteX3" fmla="*/ 2944292 w 3328751"/>
              <a:gd name="connsiteY3" fmla="*/ 2541775 h 4771726"/>
              <a:gd name="connsiteX4" fmla="*/ 3136022 w 3328751"/>
              <a:gd name="connsiteY4" fmla="*/ 4733434 h 4771726"/>
              <a:gd name="connsiteX0" fmla="*/ 3219050 w 3411779"/>
              <a:gd name="connsiteY0" fmla="*/ 4733434 h 4770072"/>
              <a:gd name="connsiteX1" fmla="*/ 521138 w 3411779"/>
              <a:gd name="connsiteY1" fmla="*/ 3864411 h 4770072"/>
              <a:gd name="connsiteX2" fmla="*/ 165067 w 3411779"/>
              <a:gd name="connsiteY2" fmla="*/ 3211266 h 4770072"/>
              <a:gd name="connsiteX3" fmla="*/ 2465825 w 3411779"/>
              <a:gd name="connsiteY3" fmla="*/ 3609 h 4770072"/>
              <a:gd name="connsiteX4" fmla="*/ 3027320 w 3411779"/>
              <a:gd name="connsiteY4" fmla="*/ 2541775 h 4770072"/>
              <a:gd name="connsiteX5" fmla="*/ 3219050 w 3411779"/>
              <a:gd name="connsiteY5" fmla="*/ 4733434 h 4770072"/>
              <a:gd name="connsiteX0" fmla="*/ 2704699 w 2897428"/>
              <a:gd name="connsiteY0" fmla="*/ 4746917 h 4817117"/>
              <a:gd name="connsiteX1" fmla="*/ 6787 w 2897428"/>
              <a:gd name="connsiteY1" fmla="*/ 3877894 h 4817117"/>
              <a:gd name="connsiteX2" fmla="*/ 1951474 w 2897428"/>
              <a:gd name="connsiteY2" fmla="*/ 17092 h 4817117"/>
              <a:gd name="connsiteX3" fmla="*/ 2512969 w 2897428"/>
              <a:gd name="connsiteY3" fmla="*/ 2555258 h 4817117"/>
              <a:gd name="connsiteX4" fmla="*/ 2704699 w 2897428"/>
              <a:gd name="connsiteY4" fmla="*/ 4746917 h 4817117"/>
              <a:gd name="connsiteX0" fmla="*/ 2993434 w 3186163"/>
              <a:gd name="connsiteY0" fmla="*/ 4746917 h 4817117"/>
              <a:gd name="connsiteX1" fmla="*/ 295522 w 3186163"/>
              <a:gd name="connsiteY1" fmla="*/ 3877894 h 4817117"/>
              <a:gd name="connsiteX2" fmla="*/ 2240209 w 3186163"/>
              <a:gd name="connsiteY2" fmla="*/ 17092 h 4817117"/>
              <a:gd name="connsiteX3" fmla="*/ 2801704 w 3186163"/>
              <a:gd name="connsiteY3" fmla="*/ 2555258 h 4817117"/>
              <a:gd name="connsiteX4" fmla="*/ 2993434 w 3186163"/>
              <a:gd name="connsiteY4" fmla="*/ 4746917 h 4817117"/>
              <a:gd name="connsiteX0" fmla="*/ 2993434 w 3186163"/>
              <a:gd name="connsiteY0" fmla="*/ 4746917 h 5504003"/>
              <a:gd name="connsiteX1" fmla="*/ 295522 w 3186163"/>
              <a:gd name="connsiteY1" fmla="*/ 3877894 h 5504003"/>
              <a:gd name="connsiteX2" fmla="*/ 2240209 w 3186163"/>
              <a:gd name="connsiteY2" fmla="*/ 17092 h 5504003"/>
              <a:gd name="connsiteX3" fmla="*/ 2801704 w 3186163"/>
              <a:gd name="connsiteY3" fmla="*/ 2555258 h 5504003"/>
              <a:gd name="connsiteX4" fmla="*/ 2993434 w 3186163"/>
              <a:gd name="connsiteY4" fmla="*/ 4746917 h 5504003"/>
              <a:gd name="connsiteX0" fmla="*/ 2889489 w 3082218"/>
              <a:gd name="connsiteY0" fmla="*/ 4746917 h 5016970"/>
              <a:gd name="connsiteX1" fmla="*/ 191577 w 3082218"/>
              <a:gd name="connsiteY1" fmla="*/ 3877894 h 5016970"/>
              <a:gd name="connsiteX2" fmla="*/ 2136264 w 3082218"/>
              <a:gd name="connsiteY2" fmla="*/ 17092 h 5016970"/>
              <a:gd name="connsiteX3" fmla="*/ 2697759 w 3082218"/>
              <a:gd name="connsiteY3" fmla="*/ 2555258 h 5016970"/>
              <a:gd name="connsiteX4" fmla="*/ 2889489 w 3082218"/>
              <a:gd name="connsiteY4" fmla="*/ 4746917 h 5016970"/>
              <a:gd name="connsiteX0" fmla="*/ 2970465 w 3163194"/>
              <a:gd name="connsiteY0" fmla="*/ 4744919 h 5014972"/>
              <a:gd name="connsiteX1" fmla="*/ 272553 w 3163194"/>
              <a:gd name="connsiteY1" fmla="*/ 3875896 h 5014972"/>
              <a:gd name="connsiteX2" fmla="*/ 2217240 w 3163194"/>
              <a:gd name="connsiteY2" fmla="*/ 15094 h 5014972"/>
              <a:gd name="connsiteX3" fmla="*/ 2778735 w 3163194"/>
              <a:gd name="connsiteY3" fmla="*/ 2553260 h 5014972"/>
              <a:gd name="connsiteX4" fmla="*/ 2970465 w 3163194"/>
              <a:gd name="connsiteY4" fmla="*/ 4744919 h 5014972"/>
              <a:gd name="connsiteX0" fmla="*/ 2971967 w 3164696"/>
              <a:gd name="connsiteY0" fmla="*/ 4732890 h 5002943"/>
              <a:gd name="connsiteX1" fmla="*/ 274055 w 3164696"/>
              <a:gd name="connsiteY1" fmla="*/ 3863867 h 5002943"/>
              <a:gd name="connsiteX2" fmla="*/ 2218742 w 3164696"/>
              <a:gd name="connsiteY2" fmla="*/ 3065 h 5002943"/>
              <a:gd name="connsiteX3" fmla="*/ 2780237 w 3164696"/>
              <a:gd name="connsiteY3" fmla="*/ 2541231 h 5002943"/>
              <a:gd name="connsiteX4" fmla="*/ 2971967 w 3164696"/>
              <a:gd name="connsiteY4" fmla="*/ 4732890 h 5002943"/>
              <a:gd name="connsiteX0" fmla="*/ 2971967 w 3237162"/>
              <a:gd name="connsiteY0" fmla="*/ 4732890 h 5193945"/>
              <a:gd name="connsiteX1" fmla="*/ 274055 w 3237162"/>
              <a:gd name="connsiteY1" fmla="*/ 3863867 h 5193945"/>
              <a:gd name="connsiteX2" fmla="*/ 2218742 w 3237162"/>
              <a:gd name="connsiteY2" fmla="*/ 3065 h 5193945"/>
              <a:gd name="connsiteX3" fmla="*/ 2780237 w 3237162"/>
              <a:gd name="connsiteY3" fmla="*/ 2541231 h 5193945"/>
              <a:gd name="connsiteX4" fmla="*/ 2971967 w 3237162"/>
              <a:gd name="connsiteY4" fmla="*/ 4732890 h 5193945"/>
              <a:gd name="connsiteX0" fmla="*/ 2971967 w 3237162"/>
              <a:gd name="connsiteY0" fmla="*/ 4732890 h 5193945"/>
              <a:gd name="connsiteX1" fmla="*/ 274055 w 3237162"/>
              <a:gd name="connsiteY1" fmla="*/ 3863867 h 5193945"/>
              <a:gd name="connsiteX2" fmla="*/ 2218742 w 3237162"/>
              <a:gd name="connsiteY2" fmla="*/ 3065 h 5193945"/>
              <a:gd name="connsiteX3" fmla="*/ 2780237 w 3237162"/>
              <a:gd name="connsiteY3" fmla="*/ 2541231 h 5193945"/>
              <a:gd name="connsiteX4" fmla="*/ 2971967 w 3237162"/>
              <a:gd name="connsiteY4" fmla="*/ 4732890 h 5193945"/>
              <a:gd name="connsiteX0" fmla="*/ 2971967 w 3285599"/>
              <a:gd name="connsiteY0" fmla="*/ 4732890 h 5224991"/>
              <a:gd name="connsiteX1" fmla="*/ 274055 w 3285599"/>
              <a:gd name="connsiteY1" fmla="*/ 3863867 h 5224991"/>
              <a:gd name="connsiteX2" fmla="*/ 2218742 w 3285599"/>
              <a:gd name="connsiteY2" fmla="*/ 3065 h 5224991"/>
              <a:gd name="connsiteX3" fmla="*/ 2780237 w 3285599"/>
              <a:gd name="connsiteY3" fmla="*/ 2541231 h 5224991"/>
              <a:gd name="connsiteX4" fmla="*/ 2971967 w 3285599"/>
              <a:gd name="connsiteY4" fmla="*/ 4732890 h 5224991"/>
              <a:gd name="connsiteX0" fmla="*/ 2930585 w 3244217"/>
              <a:gd name="connsiteY0" fmla="*/ 4733812 h 5225913"/>
              <a:gd name="connsiteX1" fmla="*/ 232673 w 3244217"/>
              <a:gd name="connsiteY1" fmla="*/ 3864789 h 5225913"/>
              <a:gd name="connsiteX2" fmla="*/ 2177360 w 3244217"/>
              <a:gd name="connsiteY2" fmla="*/ 3987 h 5225913"/>
              <a:gd name="connsiteX3" fmla="*/ 2738855 w 3244217"/>
              <a:gd name="connsiteY3" fmla="*/ 2542153 h 5225913"/>
              <a:gd name="connsiteX4" fmla="*/ 2930585 w 3244217"/>
              <a:gd name="connsiteY4" fmla="*/ 4733812 h 5225913"/>
              <a:gd name="connsiteX0" fmla="*/ 2962999 w 3276631"/>
              <a:gd name="connsiteY0" fmla="*/ 4735983 h 5228084"/>
              <a:gd name="connsiteX1" fmla="*/ 265087 w 3276631"/>
              <a:gd name="connsiteY1" fmla="*/ 3866960 h 5228084"/>
              <a:gd name="connsiteX2" fmla="*/ 2209774 w 3276631"/>
              <a:gd name="connsiteY2" fmla="*/ 6158 h 5228084"/>
              <a:gd name="connsiteX3" fmla="*/ 2771269 w 3276631"/>
              <a:gd name="connsiteY3" fmla="*/ 2544324 h 5228084"/>
              <a:gd name="connsiteX4" fmla="*/ 2962999 w 3276631"/>
              <a:gd name="connsiteY4" fmla="*/ 4735983 h 5228084"/>
              <a:gd name="connsiteX0" fmla="*/ 2945341 w 3258973"/>
              <a:gd name="connsiteY0" fmla="*/ 4737226 h 5229327"/>
              <a:gd name="connsiteX1" fmla="*/ 247429 w 3258973"/>
              <a:gd name="connsiteY1" fmla="*/ 3868203 h 5229327"/>
              <a:gd name="connsiteX2" fmla="*/ 2192116 w 3258973"/>
              <a:gd name="connsiteY2" fmla="*/ 7401 h 5229327"/>
              <a:gd name="connsiteX3" fmla="*/ 2753611 w 3258973"/>
              <a:gd name="connsiteY3" fmla="*/ 2545567 h 5229327"/>
              <a:gd name="connsiteX4" fmla="*/ 2945341 w 3258973"/>
              <a:gd name="connsiteY4" fmla="*/ 4737226 h 5229327"/>
              <a:gd name="connsiteX0" fmla="*/ 2975962 w 3289594"/>
              <a:gd name="connsiteY0" fmla="*/ 4743165 h 5235266"/>
              <a:gd name="connsiteX1" fmla="*/ 278050 w 3289594"/>
              <a:gd name="connsiteY1" fmla="*/ 3874142 h 5235266"/>
              <a:gd name="connsiteX2" fmla="*/ 2222737 w 3289594"/>
              <a:gd name="connsiteY2" fmla="*/ 13340 h 5235266"/>
              <a:gd name="connsiteX3" fmla="*/ 2784232 w 3289594"/>
              <a:gd name="connsiteY3" fmla="*/ 2551506 h 5235266"/>
              <a:gd name="connsiteX4" fmla="*/ 2975962 w 3289594"/>
              <a:gd name="connsiteY4" fmla="*/ 4743165 h 5235266"/>
              <a:gd name="connsiteX0" fmla="*/ 2975962 w 3289594"/>
              <a:gd name="connsiteY0" fmla="*/ 4743165 h 5235266"/>
              <a:gd name="connsiteX1" fmla="*/ 278050 w 3289594"/>
              <a:gd name="connsiteY1" fmla="*/ 3874142 h 5235266"/>
              <a:gd name="connsiteX2" fmla="*/ 2222737 w 3289594"/>
              <a:gd name="connsiteY2" fmla="*/ 13340 h 5235266"/>
              <a:gd name="connsiteX3" fmla="*/ 2784232 w 3289594"/>
              <a:gd name="connsiteY3" fmla="*/ 2551506 h 5235266"/>
              <a:gd name="connsiteX4" fmla="*/ 2975962 w 3289594"/>
              <a:gd name="connsiteY4" fmla="*/ 4743165 h 5235266"/>
              <a:gd name="connsiteX0" fmla="*/ 2914486 w 3228118"/>
              <a:gd name="connsiteY0" fmla="*/ 4743093 h 5230909"/>
              <a:gd name="connsiteX1" fmla="*/ 216574 w 3228118"/>
              <a:gd name="connsiteY1" fmla="*/ 3874070 h 5230909"/>
              <a:gd name="connsiteX2" fmla="*/ 2161261 w 3228118"/>
              <a:gd name="connsiteY2" fmla="*/ 13268 h 5230909"/>
              <a:gd name="connsiteX3" fmla="*/ 2722756 w 3228118"/>
              <a:gd name="connsiteY3" fmla="*/ 2551434 h 5230909"/>
              <a:gd name="connsiteX4" fmla="*/ 2914486 w 3228118"/>
              <a:gd name="connsiteY4" fmla="*/ 4743093 h 5230909"/>
              <a:gd name="connsiteX0" fmla="*/ 3053850 w 3231869"/>
              <a:gd name="connsiteY0" fmla="*/ 4742601 h 5060236"/>
              <a:gd name="connsiteX1" fmla="*/ 200625 w 3231869"/>
              <a:gd name="connsiteY1" fmla="*/ 3975178 h 5060236"/>
              <a:gd name="connsiteX2" fmla="*/ 2300625 w 3231869"/>
              <a:gd name="connsiteY2" fmla="*/ 12776 h 5060236"/>
              <a:gd name="connsiteX3" fmla="*/ 2862120 w 3231869"/>
              <a:gd name="connsiteY3" fmla="*/ 2550942 h 5060236"/>
              <a:gd name="connsiteX4" fmla="*/ 3053850 w 3231869"/>
              <a:gd name="connsiteY4" fmla="*/ 4742601 h 5060236"/>
              <a:gd name="connsiteX0" fmla="*/ 3053850 w 3279200"/>
              <a:gd name="connsiteY0" fmla="*/ 4742601 h 5206293"/>
              <a:gd name="connsiteX1" fmla="*/ 200625 w 3279200"/>
              <a:gd name="connsiteY1" fmla="*/ 3975178 h 5206293"/>
              <a:gd name="connsiteX2" fmla="*/ 2300625 w 3279200"/>
              <a:gd name="connsiteY2" fmla="*/ 12776 h 5206293"/>
              <a:gd name="connsiteX3" fmla="*/ 2862120 w 3279200"/>
              <a:gd name="connsiteY3" fmla="*/ 2550942 h 5206293"/>
              <a:gd name="connsiteX4" fmla="*/ 3053850 w 3279200"/>
              <a:gd name="connsiteY4" fmla="*/ 4742601 h 5206293"/>
              <a:gd name="connsiteX0" fmla="*/ 3093528 w 3318878"/>
              <a:gd name="connsiteY0" fmla="*/ 4745978 h 5209670"/>
              <a:gd name="connsiteX1" fmla="*/ 240303 w 3318878"/>
              <a:gd name="connsiteY1" fmla="*/ 3978555 h 5209670"/>
              <a:gd name="connsiteX2" fmla="*/ 2340303 w 3318878"/>
              <a:gd name="connsiteY2" fmla="*/ 16153 h 5209670"/>
              <a:gd name="connsiteX3" fmla="*/ 2901798 w 3318878"/>
              <a:gd name="connsiteY3" fmla="*/ 2554319 h 5209670"/>
              <a:gd name="connsiteX4" fmla="*/ 3093528 w 3318878"/>
              <a:gd name="connsiteY4" fmla="*/ 4745978 h 5209670"/>
              <a:gd name="connsiteX0" fmla="*/ 3093528 w 3318878"/>
              <a:gd name="connsiteY0" fmla="*/ 4745978 h 5209670"/>
              <a:gd name="connsiteX1" fmla="*/ 240303 w 3318878"/>
              <a:gd name="connsiteY1" fmla="*/ 3978555 h 5209670"/>
              <a:gd name="connsiteX2" fmla="*/ 2340303 w 3318878"/>
              <a:gd name="connsiteY2" fmla="*/ 16153 h 5209670"/>
              <a:gd name="connsiteX3" fmla="*/ 2901798 w 3318878"/>
              <a:gd name="connsiteY3" fmla="*/ 2554319 h 5209670"/>
              <a:gd name="connsiteX4" fmla="*/ 3093528 w 3318878"/>
              <a:gd name="connsiteY4" fmla="*/ 4745978 h 5209670"/>
              <a:gd name="connsiteX0" fmla="*/ 2733223 w 2986743"/>
              <a:gd name="connsiteY0" fmla="*/ 5192468 h 5380434"/>
              <a:gd name="connsiteX1" fmla="*/ 16222 w 2986743"/>
              <a:gd name="connsiteY1" fmla="*/ 3975102 h 5380434"/>
              <a:gd name="connsiteX2" fmla="*/ 2116222 w 2986743"/>
              <a:gd name="connsiteY2" fmla="*/ 12700 h 5380434"/>
              <a:gd name="connsiteX3" fmla="*/ 2677717 w 2986743"/>
              <a:gd name="connsiteY3" fmla="*/ 2550866 h 5380434"/>
              <a:gd name="connsiteX4" fmla="*/ 2733223 w 2986743"/>
              <a:gd name="connsiteY4" fmla="*/ 5192468 h 5380434"/>
              <a:gd name="connsiteX0" fmla="*/ 2733223 w 3097703"/>
              <a:gd name="connsiteY0" fmla="*/ 5192468 h 5481372"/>
              <a:gd name="connsiteX1" fmla="*/ 16222 w 3097703"/>
              <a:gd name="connsiteY1" fmla="*/ 3975102 h 5481372"/>
              <a:gd name="connsiteX2" fmla="*/ 2116222 w 3097703"/>
              <a:gd name="connsiteY2" fmla="*/ 12700 h 5481372"/>
              <a:gd name="connsiteX3" fmla="*/ 2677717 w 3097703"/>
              <a:gd name="connsiteY3" fmla="*/ 2550866 h 5481372"/>
              <a:gd name="connsiteX4" fmla="*/ 2733223 w 3097703"/>
              <a:gd name="connsiteY4" fmla="*/ 5192468 h 5481372"/>
              <a:gd name="connsiteX0" fmla="*/ 2808972 w 3173452"/>
              <a:gd name="connsiteY0" fmla="*/ 5196188 h 5629659"/>
              <a:gd name="connsiteX1" fmla="*/ 91971 w 3173452"/>
              <a:gd name="connsiteY1" fmla="*/ 3978822 h 5629659"/>
              <a:gd name="connsiteX2" fmla="*/ 2191971 w 3173452"/>
              <a:gd name="connsiteY2" fmla="*/ 16420 h 5629659"/>
              <a:gd name="connsiteX3" fmla="*/ 2753466 w 3173452"/>
              <a:gd name="connsiteY3" fmla="*/ 2554586 h 5629659"/>
              <a:gd name="connsiteX4" fmla="*/ 2808972 w 3173452"/>
              <a:gd name="connsiteY4" fmla="*/ 5196188 h 5629659"/>
              <a:gd name="connsiteX0" fmla="*/ 2775512 w 3139992"/>
              <a:gd name="connsiteY0" fmla="*/ 5206164 h 5639635"/>
              <a:gd name="connsiteX1" fmla="*/ 58511 w 3139992"/>
              <a:gd name="connsiteY1" fmla="*/ 3988798 h 5639635"/>
              <a:gd name="connsiteX2" fmla="*/ 2158511 w 3139992"/>
              <a:gd name="connsiteY2" fmla="*/ 26396 h 5639635"/>
              <a:gd name="connsiteX3" fmla="*/ 2720006 w 3139992"/>
              <a:gd name="connsiteY3" fmla="*/ 2564562 h 5639635"/>
              <a:gd name="connsiteX4" fmla="*/ 2775512 w 3139992"/>
              <a:gd name="connsiteY4" fmla="*/ 5206164 h 5639635"/>
              <a:gd name="connsiteX0" fmla="*/ 2775512 w 3139992"/>
              <a:gd name="connsiteY0" fmla="*/ 5206164 h 5639635"/>
              <a:gd name="connsiteX1" fmla="*/ 58511 w 3139992"/>
              <a:gd name="connsiteY1" fmla="*/ 3988798 h 5639635"/>
              <a:gd name="connsiteX2" fmla="*/ 2158511 w 3139992"/>
              <a:gd name="connsiteY2" fmla="*/ 26396 h 5639635"/>
              <a:gd name="connsiteX3" fmla="*/ 2720006 w 3139992"/>
              <a:gd name="connsiteY3" fmla="*/ 2564562 h 5639635"/>
              <a:gd name="connsiteX4" fmla="*/ 2775512 w 3139992"/>
              <a:gd name="connsiteY4" fmla="*/ 5206164 h 5639635"/>
              <a:gd name="connsiteX0" fmla="*/ 2775512 w 3139992"/>
              <a:gd name="connsiteY0" fmla="*/ 5262067 h 5695538"/>
              <a:gd name="connsiteX1" fmla="*/ 58511 w 3139992"/>
              <a:gd name="connsiteY1" fmla="*/ 4044701 h 5695538"/>
              <a:gd name="connsiteX2" fmla="*/ 2158511 w 3139992"/>
              <a:gd name="connsiteY2" fmla="*/ 82299 h 5695538"/>
              <a:gd name="connsiteX3" fmla="*/ 2720006 w 3139992"/>
              <a:gd name="connsiteY3" fmla="*/ 2620465 h 5695538"/>
              <a:gd name="connsiteX4" fmla="*/ 2775512 w 3139992"/>
              <a:gd name="connsiteY4" fmla="*/ 5262067 h 5695538"/>
              <a:gd name="connsiteX0" fmla="*/ 2782798 w 3147278"/>
              <a:gd name="connsiteY0" fmla="*/ 5279181 h 5712652"/>
              <a:gd name="connsiteX1" fmla="*/ 65797 w 3147278"/>
              <a:gd name="connsiteY1" fmla="*/ 4061815 h 5712652"/>
              <a:gd name="connsiteX2" fmla="*/ 2165797 w 3147278"/>
              <a:gd name="connsiteY2" fmla="*/ 99413 h 5712652"/>
              <a:gd name="connsiteX3" fmla="*/ 2727292 w 3147278"/>
              <a:gd name="connsiteY3" fmla="*/ 2637579 h 5712652"/>
              <a:gd name="connsiteX4" fmla="*/ 2782798 w 3147278"/>
              <a:gd name="connsiteY4" fmla="*/ 5279181 h 5712652"/>
              <a:gd name="connsiteX0" fmla="*/ 2800124 w 3164604"/>
              <a:gd name="connsiteY0" fmla="*/ 5288553 h 5722024"/>
              <a:gd name="connsiteX1" fmla="*/ 83123 w 3164604"/>
              <a:gd name="connsiteY1" fmla="*/ 4071187 h 5722024"/>
              <a:gd name="connsiteX2" fmla="*/ 2183123 w 3164604"/>
              <a:gd name="connsiteY2" fmla="*/ 108785 h 5722024"/>
              <a:gd name="connsiteX3" fmla="*/ 2744618 w 3164604"/>
              <a:gd name="connsiteY3" fmla="*/ 2646951 h 5722024"/>
              <a:gd name="connsiteX4" fmla="*/ 2800124 w 3164604"/>
              <a:gd name="connsiteY4" fmla="*/ 5288553 h 5722024"/>
              <a:gd name="connsiteX0" fmla="*/ 2743364 w 3121330"/>
              <a:gd name="connsiteY0" fmla="*/ 5419182 h 5819543"/>
              <a:gd name="connsiteX1" fmla="*/ 83123 w 3121330"/>
              <a:gd name="connsiteY1" fmla="*/ 4071187 h 5819543"/>
              <a:gd name="connsiteX2" fmla="*/ 2183123 w 3121330"/>
              <a:gd name="connsiteY2" fmla="*/ 108785 h 5819543"/>
              <a:gd name="connsiteX3" fmla="*/ 2744618 w 3121330"/>
              <a:gd name="connsiteY3" fmla="*/ 2646951 h 5819543"/>
              <a:gd name="connsiteX4" fmla="*/ 2743364 w 3121330"/>
              <a:gd name="connsiteY4" fmla="*/ 5419182 h 5819543"/>
              <a:gd name="connsiteX0" fmla="*/ 2743364 w 3151526"/>
              <a:gd name="connsiteY0" fmla="*/ 5419182 h 5748720"/>
              <a:gd name="connsiteX1" fmla="*/ 83123 w 3151526"/>
              <a:gd name="connsiteY1" fmla="*/ 4071187 h 5748720"/>
              <a:gd name="connsiteX2" fmla="*/ 2183123 w 3151526"/>
              <a:gd name="connsiteY2" fmla="*/ 108785 h 5748720"/>
              <a:gd name="connsiteX3" fmla="*/ 2744618 w 3151526"/>
              <a:gd name="connsiteY3" fmla="*/ 2646951 h 5748720"/>
              <a:gd name="connsiteX4" fmla="*/ 2743364 w 3151526"/>
              <a:gd name="connsiteY4" fmla="*/ 5419182 h 5748720"/>
              <a:gd name="connsiteX0" fmla="*/ 2754554 w 3170100"/>
              <a:gd name="connsiteY0" fmla="*/ 5545634 h 5875172"/>
              <a:gd name="connsiteX1" fmla="*/ 94313 w 3170100"/>
              <a:gd name="connsiteY1" fmla="*/ 4197639 h 5875172"/>
              <a:gd name="connsiteX2" fmla="*/ 2012682 w 3170100"/>
              <a:gd name="connsiteY2" fmla="*/ 104608 h 5875172"/>
              <a:gd name="connsiteX3" fmla="*/ 2755808 w 3170100"/>
              <a:gd name="connsiteY3" fmla="*/ 2773403 h 5875172"/>
              <a:gd name="connsiteX4" fmla="*/ 2754554 w 3170100"/>
              <a:gd name="connsiteY4" fmla="*/ 5545634 h 5875172"/>
              <a:gd name="connsiteX0" fmla="*/ 2754554 w 3170100"/>
              <a:gd name="connsiteY0" fmla="*/ 5545634 h 5875172"/>
              <a:gd name="connsiteX1" fmla="*/ 94313 w 3170100"/>
              <a:gd name="connsiteY1" fmla="*/ 4197639 h 5875172"/>
              <a:gd name="connsiteX2" fmla="*/ 2012682 w 3170100"/>
              <a:gd name="connsiteY2" fmla="*/ 104608 h 5875172"/>
              <a:gd name="connsiteX3" fmla="*/ 2755808 w 3170100"/>
              <a:gd name="connsiteY3" fmla="*/ 2773403 h 5875172"/>
              <a:gd name="connsiteX4" fmla="*/ 2754554 w 3170100"/>
              <a:gd name="connsiteY4" fmla="*/ 5545634 h 5875172"/>
              <a:gd name="connsiteX0" fmla="*/ 2833740 w 3067930"/>
              <a:gd name="connsiteY0" fmla="*/ 5545189 h 5679802"/>
              <a:gd name="connsiteX1" fmla="*/ 88767 w 3067930"/>
              <a:gd name="connsiteY1" fmla="*/ 4211709 h 5679802"/>
              <a:gd name="connsiteX2" fmla="*/ 2091868 w 3067930"/>
              <a:gd name="connsiteY2" fmla="*/ 104163 h 5679802"/>
              <a:gd name="connsiteX3" fmla="*/ 2834994 w 3067930"/>
              <a:gd name="connsiteY3" fmla="*/ 2772958 h 5679802"/>
              <a:gd name="connsiteX4" fmla="*/ 2833740 w 3067930"/>
              <a:gd name="connsiteY4" fmla="*/ 5545189 h 5679802"/>
              <a:gd name="connsiteX0" fmla="*/ 2833740 w 3175149"/>
              <a:gd name="connsiteY0" fmla="*/ 5545189 h 5859928"/>
              <a:gd name="connsiteX1" fmla="*/ 88767 w 3175149"/>
              <a:gd name="connsiteY1" fmla="*/ 4211709 h 5859928"/>
              <a:gd name="connsiteX2" fmla="*/ 2091868 w 3175149"/>
              <a:gd name="connsiteY2" fmla="*/ 104163 h 5859928"/>
              <a:gd name="connsiteX3" fmla="*/ 2834994 w 3175149"/>
              <a:gd name="connsiteY3" fmla="*/ 2772958 h 5859928"/>
              <a:gd name="connsiteX4" fmla="*/ 2833740 w 3175149"/>
              <a:gd name="connsiteY4" fmla="*/ 5545189 h 5859928"/>
              <a:gd name="connsiteX0" fmla="*/ 2833740 w 3147353"/>
              <a:gd name="connsiteY0" fmla="*/ 5545189 h 5859928"/>
              <a:gd name="connsiteX1" fmla="*/ 88767 w 3147353"/>
              <a:gd name="connsiteY1" fmla="*/ 4211709 h 5859928"/>
              <a:gd name="connsiteX2" fmla="*/ 2091868 w 3147353"/>
              <a:gd name="connsiteY2" fmla="*/ 104163 h 5859928"/>
              <a:gd name="connsiteX3" fmla="*/ 2834994 w 3147353"/>
              <a:gd name="connsiteY3" fmla="*/ 2772958 h 5859928"/>
              <a:gd name="connsiteX4" fmla="*/ 2833740 w 3147353"/>
              <a:gd name="connsiteY4" fmla="*/ 5545189 h 5859928"/>
              <a:gd name="connsiteX0" fmla="*/ 2824211 w 3137824"/>
              <a:gd name="connsiteY0" fmla="*/ 5501408 h 5816147"/>
              <a:gd name="connsiteX1" fmla="*/ 79238 w 3137824"/>
              <a:gd name="connsiteY1" fmla="*/ 4167928 h 5816147"/>
              <a:gd name="connsiteX2" fmla="*/ 2082339 w 3137824"/>
              <a:gd name="connsiteY2" fmla="*/ 60382 h 5816147"/>
              <a:gd name="connsiteX3" fmla="*/ 2825465 w 3137824"/>
              <a:gd name="connsiteY3" fmla="*/ 2729177 h 5816147"/>
              <a:gd name="connsiteX4" fmla="*/ 2824211 w 3137824"/>
              <a:gd name="connsiteY4" fmla="*/ 5501408 h 58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7824" h="5816147">
                <a:moveTo>
                  <a:pt x="2824211" y="5501408"/>
                </a:moveTo>
                <a:cubicBezTo>
                  <a:pt x="2122903" y="6147600"/>
                  <a:pt x="420463" y="5844023"/>
                  <a:pt x="79238" y="4167928"/>
                </a:cubicBezTo>
                <a:cubicBezTo>
                  <a:pt x="-318747" y="2172519"/>
                  <a:pt x="849718" y="-430380"/>
                  <a:pt x="2082339" y="60382"/>
                </a:cubicBezTo>
                <a:cubicBezTo>
                  <a:pt x="2972823" y="449544"/>
                  <a:pt x="2818326" y="1444968"/>
                  <a:pt x="2825465" y="2729177"/>
                </a:cubicBezTo>
                <a:cubicBezTo>
                  <a:pt x="2832604" y="4013386"/>
                  <a:pt x="3525519" y="4855216"/>
                  <a:pt x="2824211" y="5501408"/>
                </a:cubicBezTo>
                <a:close/>
              </a:path>
            </a:pathLst>
          </a:custGeom>
          <a:solidFill>
            <a:schemeClr val="bg2"/>
          </a:solidFill>
          <a:effectLst>
            <a:outerShdw blurRad="127000" dist="12700" algn="ctr" rotWithShape="0">
              <a:schemeClr val="tx2">
                <a:lumMod val="50000"/>
                <a:alpha val="50000"/>
              </a:schemeClr>
            </a:outerShdw>
          </a:effectLst>
        </p:spPr>
        <p:txBody>
          <a:bodyPr/>
          <a:lstStyle/>
          <a:p>
            <a:r>
              <a:rPr lang="en-US" dirty="0"/>
              <a:t>Click icon to add picture</a:t>
            </a:r>
          </a:p>
        </p:txBody>
      </p:sp>
      <p:sp>
        <p:nvSpPr>
          <p:cNvPr id="6" name="Slide Number Placeholder 8">
            <a:extLst>
              <a:ext uri="{FF2B5EF4-FFF2-40B4-BE49-F238E27FC236}">
                <a16:creationId xmlns:a16="http://schemas.microsoft.com/office/drawing/2014/main" id="{D70ADA00-64F8-DF4E-8611-C2F00CB14217}"/>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11" name="Freeform 10">
            <a:extLst>
              <a:ext uri="{FF2B5EF4-FFF2-40B4-BE49-F238E27FC236}">
                <a16:creationId xmlns:a16="http://schemas.microsoft.com/office/drawing/2014/main" id="{F55BB7A0-ED09-A34D-8919-2B10BF5A44BF}"/>
              </a:ext>
            </a:extLst>
          </p:cNvPr>
          <p:cNvSpPr/>
          <p:nvPr userDrawn="1"/>
        </p:nvSpPr>
        <p:spPr>
          <a:xfrm>
            <a:off x="0" y="0"/>
            <a:ext cx="1362726" cy="6872516"/>
          </a:xfrm>
          <a:custGeom>
            <a:avLst/>
            <a:gdLst>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1842655 w 1842655"/>
              <a:gd name="connsiteY5" fmla="*/ 6872487 h 6872516"/>
              <a:gd name="connsiteX6" fmla="*/ 1842655 w 1842655"/>
              <a:gd name="connsiteY6" fmla="*/ 6872516 h 6872516"/>
              <a:gd name="connsiteX7" fmla="*/ 0 w 1842655"/>
              <a:gd name="connsiteY7" fmla="*/ 6872516 h 6872516"/>
              <a:gd name="connsiteX8" fmla="*/ 0 w 1842655"/>
              <a:gd name="connsiteY8" fmla="*/ 0 h 6872516"/>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1842655 w 1842655"/>
              <a:gd name="connsiteY5" fmla="*/ 6872487 h 6872516"/>
              <a:gd name="connsiteX6" fmla="*/ 0 w 1842655"/>
              <a:gd name="connsiteY6" fmla="*/ 6872516 h 6872516"/>
              <a:gd name="connsiteX7" fmla="*/ 0 w 1842655"/>
              <a:gd name="connsiteY7" fmla="*/ 0 h 6872516"/>
              <a:gd name="connsiteX0" fmla="*/ 0 w 1842655"/>
              <a:gd name="connsiteY0" fmla="*/ 0 h 6872516"/>
              <a:gd name="connsiteX1" fmla="*/ 1842655 w 1842655"/>
              <a:gd name="connsiteY1" fmla="*/ 0 h 6872516"/>
              <a:gd name="connsiteX2" fmla="*/ 1842655 w 1842655"/>
              <a:gd name="connsiteY2" fmla="*/ 2 h 6872516"/>
              <a:gd name="connsiteX3" fmla="*/ 1304667 w 1842655"/>
              <a:gd name="connsiteY3" fmla="*/ 2 h 6872516"/>
              <a:gd name="connsiteX4" fmla="*/ 1362726 w 1842655"/>
              <a:gd name="connsiteY4" fmla="*/ 6872485 h 6872516"/>
              <a:gd name="connsiteX5" fmla="*/ 0 w 1842655"/>
              <a:gd name="connsiteY5" fmla="*/ 6872516 h 6872516"/>
              <a:gd name="connsiteX6" fmla="*/ 0 w 1842655"/>
              <a:gd name="connsiteY6" fmla="*/ 0 h 6872516"/>
              <a:gd name="connsiteX0" fmla="*/ 0 w 1842655"/>
              <a:gd name="connsiteY0" fmla="*/ 0 h 6872516"/>
              <a:gd name="connsiteX1" fmla="*/ 1842655 w 1842655"/>
              <a:gd name="connsiteY1" fmla="*/ 0 h 6872516"/>
              <a:gd name="connsiteX2" fmla="*/ 1304667 w 1842655"/>
              <a:gd name="connsiteY2" fmla="*/ 2 h 6872516"/>
              <a:gd name="connsiteX3" fmla="*/ 1362726 w 1842655"/>
              <a:gd name="connsiteY3" fmla="*/ 6872485 h 6872516"/>
              <a:gd name="connsiteX4" fmla="*/ 0 w 1842655"/>
              <a:gd name="connsiteY4" fmla="*/ 6872516 h 6872516"/>
              <a:gd name="connsiteX5" fmla="*/ 0 w 1842655"/>
              <a:gd name="connsiteY5" fmla="*/ 0 h 6872516"/>
              <a:gd name="connsiteX0" fmla="*/ 0 w 1362726"/>
              <a:gd name="connsiteY0" fmla="*/ 0 h 6872516"/>
              <a:gd name="connsiteX1" fmla="*/ 1304667 w 1362726"/>
              <a:gd name="connsiteY1" fmla="*/ 2 h 6872516"/>
              <a:gd name="connsiteX2" fmla="*/ 1362726 w 1362726"/>
              <a:gd name="connsiteY2" fmla="*/ 6872485 h 6872516"/>
              <a:gd name="connsiteX3" fmla="*/ 0 w 1362726"/>
              <a:gd name="connsiteY3" fmla="*/ 6872516 h 6872516"/>
              <a:gd name="connsiteX4" fmla="*/ 0 w 1362726"/>
              <a:gd name="connsiteY4" fmla="*/ 0 h 6872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726" h="6872516">
                <a:moveTo>
                  <a:pt x="0" y="0"/>
                </a:moveTo>
                <a:lnTo>
                  <a:pt x="1304667" y="2"/>
                </a:lnTo>
                <a:cubicBezTo>
                  <a:pt x="1261124" y="1977009"/>
                  <a:pt x="-1101062" y="2940196"/>
                  <a:pt x="1362726" y="6872485"/>
                </a:cubicBezTo>
                <a:lnTo>
                  <a:pt x="0" y="6872516"/>
                </a:lnTo>
                <a:lnTo>
                  <a:pt x="0" y="0"/>
                </a:lnTo>
                <a:close/>
              </a:path>
            </a:pathLst>
          </a:custGeom>
          <a:solidFill>
            <a:schemeClr val="bg2"/>
          </a:solidFill>
          <a:ln>
            <a:noFill/>
          </a:ln>
          <a:effectLst>
            <a:outerShdw blurRad="127000" dist="127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ext Placeholder 32">
            <a:extLst>
              <a:ext uri="{FF2B5EF4-FFF2-40B4-BE49-F238E27FC236}">
                <a16:creationId xmlns:a16="http://schemas.microsoft.com/office/drawing/2014/main" id="{A079D4BF-86ED-794C-A7BA-B1B3BDAEE1D3}"/>
              </a:ext>
            </a:extLst>
          </p:cNvPr>
          <p:cNvSpPr>
            <a:spLocks noGrp="1"/>
          </p:cNvSpPr>
          <p:nvPr>
            <p:ph type="body" sz="quarter" idx="14" hasCustomPrompt="1"/>
          </p:nvPr>
        </p:nvSpPr>
        <p:spPr>
          <a:xfrm>
            <a:off x="5078350" y="1398561"/>
            <a:ext cx="6732650" cy="5322914"/>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Tree>
    <p:extLst>
      <p:ext uri="{BB962C8B-B14F-4D97-AF65-F5344CB8AC3E}">
        <p14:creationId xmlns:p14="http://schemas.microsoft.com/office/powerpoint/2010/main" val="29596274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Image + Headline &amp; Copy">
    <p:bg>
      <p:bgPr>
        <a:solidFill>
          <a:schemeClr val="bg2"/>
        </a:solidFill>
        <a:effectLst/>
      </p:bgPr>
    </p:bg>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C2B5AE13-5CBF-944B-B231-822F7D984FD0}"/>
              </a:ext>
            </a:extLst>
          </p:cNvPr>
          <p:cNvSpPr>
            <a:spLocks/>
          </p:cNvSpPr>
          <p:nvPr userDrawn="1"/>
        </p:nvSpPr>
        <p:spPr bwMode="auto">
          <a:xfrm rot="16200000">
            <a:off x="53279" y="74456"/>
            <a:ext cx="6638079" cy="6744637"/>
          </a:xfrm>
          <a:custGeom>
            <a:avLst/>
            <a:gdLst>
              <a:gd name="T0" fmla="*/ 8751800 w 20831"/>
              <a:gd name="T1" fmla="*/ 5708631 h 19270"/>
              <a:gd name="T2" fmla="*/ 8751800 w 20831"/>
              <a:gd name="T3" fmla="*/ 5708631 h 19270"/>
              <a:gd name="T4" fmla="*/ 8751800 w 20831"/>
              <a:gd name="T5" fmla="*/ 5708631 h 19270"/>
              <a:gd name="T6" fmla="*/ 8751800 w 20831"/>
              <a:gd name="T7" fmla="*/ 5708631 h 19270"/>
              <a:gd name="T8" fmla="*/ 0 60000 65536"/>
              <a:gd name="T9" fmla="*/ 5898240 60000 65536"/>
              <a:gd name="T10" fmla="*/ 11796480 60000 65536"/>
              <a:gd name="T11" fmla="*/ 17694720 60000 65536"/>
              <a:gd name="connsiteX0" fmla="*/ 1015 w 20837"/>
              <a:gd name="connsiteY0" fmla="*/ 0 h 19721"/>
              <a:gd name="connsiteX1" fmla="*/ 54 w 20837"/>
              <a:gd name="connsiteY1" fmla="*/ 4378 h 19721"/>
              <a:gd name="connsiteX2" fmla="*/ 1832 w 20837"/>
              <a:gd name="connsiteY2" fmla="*/ 18133 h 19721"/>
              <a:gd name="connsiteX3" fmla="*/ 16964 w 20837"/>
              <a:gd name="connsiteY3" fmla="*/ 18475 h 19721"/>
              <a:gd name="connsiteX4" fmla="*/ 18703 w 20837"/>
              <a:gd name="connsiteY4" fmla="*/ 15704 h 19721"/>
              <a:gd name="connsiteX5" fmla="*/ 20168 w 20837"/>
              <a:gd name="connsiteY5" fmla="*/ 0 h 19721"/>
              <a:gd name="connsiteX6" fmla="*/ 1015 w 20837"/>
              <a:gd name="connsiteY6" fmla="*/ 0 h 19721"/>
              <a:gd name="connsiteX0" fmla="*/ 990 w 20812"/>
              <a:gd name="connsiteY0" fmla="*/ 0 h 19180"/>
              <a:gd name="connsiteX1" fmla="*/ 29 w 20812"/>
              <a:gd name="connsiteY1" fmla="*/ 4378 h 19180"/>
              <a:gd name="connsiteX2" fmla="*/ 1807 w 20812"/>
              <a:gd name="connsiteY2" fmla="*/ 18133 h 19180"/>
              <a:gd name="connsiteX3" fmla="*/ 12773 w 20812"/>
              <a:gd name="connsiteY3" fmla="*/ 17945 h 19180"/>
              <a:gd name="connsiteX4" fmla="*/ 18678 w 20812"/>
              <a:gd name="connsiteY4" fmla="*/ 15704 h 19180"/>
              <a:gd name="connsiteX5" fmla="*/ 20143 w 20812"/>
              <a:gd name="connsiteY5" fmla="*/ 0 h 19180"/>
              <a:gd name="connsiteX6" fmla="*/ 990 w 20812"/>
              <a:gd name="connsiteY6" fmla="*/ 0 h 19180"/>
              <a:gd name="connsiteX0" fmla="*/ 990 w 21510"/>
              <a:gd name="connsiteY0" fmla="*/ 0 h 19322"/>
              <a:gd name="connsiteX1" fmla="*/ 29 w 21510"/>
              <a:gd name="connsiteY1" fmla="*/ 4378 h 19322"/>
              <a:gd name="connsiteX2" fmla="*/ 1807 w 21510"/>
              <a:gd name="connsiteY2" fmla="*/ 18133 h 19322"/>
              <a:gd name="connsiteX3" fmla="*/ 12773 w 21510"/>
              <a:gd name="connsiteY3" fmla="*/ 17945 h 19322"/>
              <a:gd name="connsiteX4" fmla="*/ 20252 w 21510"/>
              <a:gd name="connsiteY4" fmla="*/ 12345 h 19322"/>
              <a:gd name="connsiteX5" fmla="*/ 20143 w 21510"/>
              <a:gd name="connsiteY5" fmla="*/ 0 h 19322"/>
              <a:gd name="connsiteX6" fmla="*/ 990 w 21510"/>
              <a:gd name="connsiteY6" fmla="*/ 0 h 19322"/>
              <a:gd name="connsiteX0" fmla="*/ 990 w 21510"/>
              <a:gd name="connsiteY0" fmla="*/ 0 h 19322"/>
              <a:gd name="connsiteX1" fmla="*/ 29 w 21510"/>
              <a:gd name="connsiteY1" fmla="*/ 4378 h 19322"/>
              <a:gd name="connsiteX2" fmla="*/ 1807 w 21510"/>
              <a:gd name="connsiteY2" fmla="*/ 18133 h 19322"/>
              <a:gd name="connsiteX3" fmla="*/ 12773 w 21510"/>
              <a:gd name="connsiteY3" fmla="*/ 17945 h 19322"/>
              <a:gd name="connsiteX4" fmla="*/ 20252 w 21510"/>
              <a:gd name="connsiteY4" fmla="*/ 12345 h 19322"/>
              <a:gd name="connsiteX5" fmla="*/ 20143 w 21510"/>
              <a:gd name="connsiteY5" fmla="*/ 0 h 19322"/>
              <a:gd name="connsiteX6" fmla="*/ 990 w 21510"/>
              <a:gd name="connsiteY6" fmla="*/ 0 h 19322"/>
              <a:gd name="connsiteX0" fmla="*/ 990 w 20632"/>
              <a:gd name="connsiteY0" fmla="*/ 0 h 19322"/>
              <a:gd name="connsiteX1" fmla="*/ 29 w 20632"/>
              <a:gd name="connsiteY1" fmla="*/ 4378 h 19322"/>
              <a:gd name="connsiteX2" fmla="*/ 1807 w 20632"/>
              <a:gd name="connsiteY2" fmla="*/ 18133 h 19322"/>
              <a:gd name="connsiteX3" fmla="*/ 12773 w 20632"/>
              <a:gd name="connsiteY3" fmla="*/ 17945 h 19322"/>
              <a:gd name="connsiteX4" fmla="*/ 20252 w 20632"/>
              <a:gd name="connsiteY4" fmla="*/ 12345 h 19322"/>
              <a:gd name="connsiteX5" fmla="*/ 20143 w 20632"/>
              <a:gd name="connsiteY5" fmla="*/ 0 h 19322"/>
              <a:gd name="connsiteX6" fmla="*/ 990 w 20632"/>
              <a:gd name="connsiteY6" fmla="*/ 0 h 19322"/>
              <a:gd name="connsiteX0" fmla="*/ 990 w 20252"/>
              <a:gd name="connsiteY0" fmla="*/ 0 h 19322"/>
              <a:gd name="connsiteX1" fmla="*/ 29 w 20252"/>
              <a:gd name="connsiteY1" fmla="*/ 4378 h 19322"/>
              <a:gd name="connsiteX2" fmla="*/ 1807 w 20252"/>
              <a:gd name="connsiteY2" fmla="*/ 18133 h 19322"/>
              <a:gd name="connsiteX3" fmla="*/ 12773 w 20252"/>
              <a:gd name="connsiteY3" fmla="*/ 17945 h 19322"/>
              <a:gd name="connsiteX4" fmla="*/ 20252 w 20252"/>
              <a:gd name="connsiteY4" fmla="*/ 12345 h 19322"/>
              <a:gd name="connsiteX5" fmla="*/ 20143 w 20252"/>
              <a:gd name="connsiteY5" fmla="*/ 0 h 19322"/>
              <a:gd name="connsiteX6" fmla="*/ 990 w 20252"/>
              <a:gd name="connsiteY6" fmla="*/ 0 h 19322"/>
              <a:gd name="connsiteX0" fmla="*/ 990 w 20298"/>
              <a:gd name="connsiteY0" fmla="*/ 0 h 19368"/>
              <a:gd name="connsiteX1" fmla="*/ 29 w 20298"/>
              <a:gd name="connsiteY1" fmla="*/ 4378 h 19368"/>
              <a:gd name="connsiteX2" fmla="*/ 1807 w 20298"/>
              <a:gd name="connsiteY2" fmla="*/ 18133 h 19368"/>
              <a:gd name="connsiteX3" fmla="*/ 12773 w 20298"/>
              <a:gd name="connsiteY3" fmla="*/ 17945 h 19368"/>
              <a:gd name="connsiteX4" fmla="*/ 20298 w 20298"/>
              <a:gd name="connsiteY4" fmla="*/ 11373 h 19368"/>
              <a:gd name="connsiteX5" fmla="*/ 20143 w 20298"/>
              <a:gd name="connsiteY5" fmla="*/ 0 h 19368"/>
              <a:gd name="connsiteX6" fmla="*/ 990 w 20298"/>
              <a:gd name="connsiteY6" fmla="*/ 0 h 19368"/>
              <a:gd name="connsiteX0" fmla="*/ 990 w 20340"/>
              <a:gd name="connsiteY0" fmla="*/ 0 h 19368"/>
              <a:gd name="connsiteX1" fmla="*/ 29 w 20340"/>
              <a:gd name="connsiteY1" fmla="*/ 4378 h 19368"/>
              <a:gd name="connsiteX2" fmla="*/ 1807 w 20340"/>
              <a:gd name="connsiteY2" fmla="*/ 18133 h 19368"/>
              <a:gd name="connsiteX3" fmla="*/ 12773 w 20340"/>
              <a:gd name="connsiteY3" fmla="*/ 17945 h 19368"/>
              <a:gd name="connsiteX4" fmla="*/ 20298 w 20340"/>
              <a:gd name="connsiteY4" fmla="*/ 11373 h 19368"/>
              <a:gd name="connsiteX5" fmla="*/ 20143 w 20340"/>
              <a:gd name="connsiteY5" fmla="*/ 0 h 19368"/>
              <a:gd name="connsiteX6" fmla="*/ 990 w 20340"/>
              <a:gd name="connsiteY6" fmla="*/ 0 h 19368"/>
              <a:gd name="connsiteX0" fmla="*/ 990 w 20317"/>
              <a:gd name="connsiteY0" fmla="*/ 0 h 19368"/>
              <a:gd name="connsiteX1" fmla="*/ 29 w 20317"/>
              <a:gd name="connsiteY1" fmla="*/ 4378 h 19368"/>
              <a:gd name="connsiteX2" fmla="*/ 1807 w 20317"/>
              <a:gd name="connsiteY2" fmla="*/ 18133 h 19368"/>
              <a:gd name="connsiteX3" fmla="*/ 12773 w 20317"/>
              <a:gd name="connsiteY3" fmla="*/ 17945 h 19368"/>
              <a:gd name="connsiteX4" fmla="*/ 20298 w 20317"/>
              <a:gd name="connsiteY4" fmla="*/ 11373 h 19368"/>
              <a:gd name="connsiteX5" fmla="*/ 20143 w 20317"/>
              <a:gd name="connsiteY5" fmla="*/ 0 h 19368"/>
              <a:gd name="connsiteX6" fmla="*/ 990 w 20317"/>
              <a:gd name="connsiteY6" fmla="*/ 0 h 19368"/>
              <a:gd name="connsiteX0" fmla="*/ 990 w 20501"/>
              <a:gd name="connsiteY0" fmla="*/ 0 h 19345"/>
              <a:gd name="connsiteX1" fmla="*/ 29 w 20501"/>
              <a:gd name="connsiteY1" fmla="*/ 4378 h 19345"/>
              <a:gd name="connsiteX2" fmla="*/ 1807 w 20501"/>
              <a:gd name="connsiteY2" fmla="*/ 18133 h 19345"/>
              <a:gd name="connsiteX3" fmla="*/ 12773 w 20501"/>
              <a:gd name="connsiteY3" fmla="*/ 17945 h 19345"/>
              <a:gd name="connsiteX4" fmla="*/ 20483 w 20501"/>
              <a:gd name="connsiteY4" fmla="*/ 11859 h 19345"/>
              <a:gd name="connsiteX5" fmla="*/ 20143 w 20501"/>
              <a:gd name="connsiteY5" fmla="*/ 0 h 19345"/>
              <a:gd name="connsiteX6" fmla="*/ 990 w 20501"/>
              <a:gd name="connsiteY6" fmla="*/ 0 h 19345"/>
              <a:gd name="connsiteX0" fmla="*/ 990 w 20720"/>
              <a:gd name="connsiteY0" fmla="*/ 0 h 19345"/>
              <a:gd name="connsiteX1" fmla="*/ 29 w 20720"/>
              <a:gd name="connsiteY1" fmla="*/ 4378 h 19345"/>
              <a:gd name="connsiteX2" fmla="*/ 1807 w 20720"/>
              <a:gd name="connsiteY2" fmla="*/ 18133 h 19345"/>
              <a:gd name="connsiteX3" fmla="*/ 12773 w 20720"/>
              <a:gd name="connsiteY3" fmla="*/ 17945 h 19345"/>
              <a:gd name="connsiteX4" fmla="*/ 20483 w 20720"/>
              <a:gd name="connsiteY4" fmla="*/ 11859 h 19345"/>
              <a:gd name="connsiteX5" fmla="*/ 19680 w 20720"/>
              <a:gd name="connsiteY5" fmla="*/ 0 h 19345"/>
              <a:gd name="connsiteX6" fmla="*/ 990 w 20720"/>
              <a:gd name="connsiteY6" fmla="*/ 0 h 19345"/>
              <a:gd name="connsiteX0" fmla="*/ 990 w 20734"/>
              <a:gd name="connsiteY0" fmla="*/ 0 h 19345"/>
              <a:gd name="connsiteX1" fmla="*/ 29 w 20734"/>
              <a:gd name="connsiteY1" fmla="*/ 4378 h 19345"/>
              <a:gd name="connsiteX2" fmla="*/ 1807 w 20734"/>
              <a:gd name="connsiteY2" fmla="*/ 18133 h 19345"/>
              <a:gd name="connsiteX3" fmla="*/ 12773 w 20734"/>
              <a:gd name="connsiteY3" fmla="*/ 17945 h 19345"/>
              <a:gd name="connsiteX4" fmla="*/ 20483 w 20734"/>
              <a:gd name="connsiteY4" fmla="*/ 11859 h 19345"/>
              <a:gd name="connsiteX5" fmla="*/ 19680 w 20734"/>
              <a:gd name="connsiteY5" fmla="*/ 0 h 19345"/>
              <a:gd name="connsiteX6" fmla="*/ 990 w 20734"/>
              <a:gd name="connsiteY6" fmla="*/ 0 h 19345"/>
              <a:gd name="connsiteX0" fmla="*/ 990 w 20718"/>
              <a:gd name="connsiteY0" fmla="*/ 0 h 19345"/>
              <a:gd name="connsiteX1" fmla="*/ 29 w 20718"/>
              <a:gd name="connsiteY1" fmla="*/ 4378 h 19345"/>
              <a:gd name="connsiteX2" fmla="*/ 1807 w 20718"/>
              <a:gd name="connsiteY2" fmla="*/ 18133 h 19345"/>
              <a:gd name="connsiteX3" fmla="*/ 12773 w 20718"/>
              <a:gd name="connsiteY3" fmla="*/ 17945 h 19345"/>
              <a:gd name="connsiteX4" fmla="*/ 20483 w 20718"/>
              <a:gd name="connsiteY4" fmla="*/ 11859 h 19345"/>
              <a:gd name="connsiteX5" fmla="*/ 19680 w 20718"/>
              <a:gd name="connsiteY5" fmla="*/ 0 h 19345"/>
              <a:gd name="connsiteX6" fmla="*/ 990 w 20718"/>
              <a:gd name="connsiteY6" fmla="*/ 0 h 19345"/>
              <a:gd name="connsiteX0" fmla="*/ 990 w 20588"/>
              <a:gd name="connsiteY0" fmla="*/ 0 h 19312"/>
              <a:gd name="connsiteX1" fmla="*/ 29 w 20588"/>
              <a:gd name="connsiteY1" fmla="*/ 4378 h 19312"/>
              <a:gd name="connsiteX2" fmla="*/ 1807 w 20588"/>
              <a:gd name="connsiteY2" fmla="*/ 18133 h 19312"/>
              <a:gd name="connsiteX3" fmla="*/ 12773 w 20588"/>
              <a:gd name="connsiteY3" fmla="*/ 17945 h 19312"/>
              <a:gd name="connsiteX4" fmla="*/ 20344 w 20588"/>
              <a:gd name="connsiteY4" fmla="*/ 12566 h 19312"/>
              <a:gd name="connsiteX5" fmla="*/ 19680 w 20588"/>
              <a:gd name="connsiteY5" fmla="*/ 0 h 19312"/>
              <a:gd name="connsiteX6" fmla="*/ 990 w 20588"/>
              <a:gd name="connsiteY6" fmla="*/ 0 h 19312"/>
              <a:gd name="connsiteX0" fmla="*/ 990 w 20514"/>
              <a:gd name="connsiteY0" fmla="*/ 0 h 19312"/>
              <a:gd name="connsiteX1" fmla="*/ 29 w 20514"/>
              <a:gd name="connsiteY1" fmla="*/ 4378 h 19312"/>
              <a:gd name="connsiteX2" fmla="*/ 1807 w 20514"/>
              <a:gd name="connsiteY2" fmla="*/ 18133 h 19312"/>
              <a:gd name="connsiteX3" fmla="*/ 12773 w 20514"/>
              <a:gd name="connsiteY3" fmla="*/ 17945 h 19312"/>
              <a:gd name="connsiteX4" fmla="*/ 20344 w 20514"/>
              <a:gd name="connsiteY4" fmla="*/ 12566 h 19312"/>
              <a:gd name="connsiteX5" fmla="*/ 19680 w 20514"/>
              <a:gd name="connsiteY5" fmla="*/ 0 h 19312"/>
              <a:gd name="connsiteX6" fmla="*/ 990 w 20514"/>
              <a:gd name="connsiteY6" fmla="*/ 0 h 19312"/>
              <a:gd name="connsiteX0" fmla="*/ 990 w 20630"/>
              <a:gd name="connsiteY0" fmla="*/ 0 h 19243"/>
              <a:gd name="connsiteX1" fmla="*/ 29 w 20630"/>
              <a:gd name="connsiteY1" fmla="*/ 4378 h 19243"/>
              <a:gd name="connsiteX2" fmla="*/ 1807 w 20630"/>
              <a:gd name="connsiteY2" fmla="*/ 18133 h 19243"/>
              <a:gd name="connsiteX3" fmla="*/ 12310 w 20630"/>
              <a:gd name="connsiteY3" fmla="*/ 17768 h 19243"/>
              <a:gd name="connsiteX4" fmla="*/ 20344 w 20630"/>
              <a:gd name="connsiteY4" fmla="*/ 12566 h 19243"/>
              <a:gd name="connsiteX5" fmla="*/ 19680 w 20630"/>
              <a:gd name="connsiteY5" fmla="*/ 0 h 19243"/>
              <a:gd name="connsiteX6" fmla="*/ 990 w 20630"/>
              <a:gd name="connsiteY6" fmla="*/ 0 h 19243"/>
              <a:gd name="connsiteX0" fmla="*/ 990 w 20460"/>
              <a:gd name="connsiteY0" fmla="*/ 0 h 19215"/>
              <a:gd name="connsiteX1" fmla="*/ 29 w 20460"/>
              <a:gd name="connsiteY1" fmla="*/ 4378 h 19215"/>
              <a:gd name="connsiteX2" fmla="*/ 1807 w 20460"/>
              <a:gd name="connsiteY2" fmla="*/ 18133 h 19215"/>
              <a:gd name="connsiteX3" fmla="*/ 12310 w 20460"/>
              <a:gd name="connsiteY3" fmla="*/ 17768 h 19215"/>
              <a:gd name="connsiteX4" fmla="*/ 20159 w 20460"/>
              <a:gd name="connsiteY4" fmla="*/ 13229 h 19215"/>
              <a:gd name="connsiteX5" fmla="*/ 19680 w 20460"/>
              <a:gd name="connsiteY5" fmla="*/ 0 h 19215"/>
              <a:gd name="connsiteX6" fmla="*/ 990 w 20460"/>
              <a:gd name="connsiteY6" fmla="*/ 0 h 19215"/>
              <a:gd name="connsiteX0" fmla="*/ 990 w 20411"/>
              <a:gd name="connsiteY0" fmla="*/ 0 h 19215"/>
              <a:gd name="connsiteX1" fmla="*/ 29 w 20411"/>
              <a:gd name="connsiteY1" fmla="*/ 4378 h 19215"/>
              <a:gd name="connsiteX2" fmla="*/ 1807 w 20411"/>
              <a:gd name="connsiteY2" fmla="*/ 18133 h 19215"/>
              <a:gd name="connsiteX3" fmla="*/ 12310 w 20411"/>
              <a:gd name="connsiteY3" fmla="*/ 17768 h 19215"/>
              <a:gd name="connsiteX4" fmla="*/ 20159 w 20411"/>
              <a:gd name="connsiteY4" fmla="*/ 13229 h 19215"/>
              <a:gd name="connsiteX5" fmla="*/ 19680 w 20411"/>
              <a:gd name="connsiteY5" fmla="*/ 0 h 19215"/>
              <a:gd name="connsiteX6" fmla="*/ 990 w 20411"/>
              <a:gd name="connsiteY6" fmla="*/ 0 h 19215"/>
              <a:gd name="connsiteX0" fmla="*/ 990 w 20395"/>
              <a:gd name="connsiteY0" fmla="*/ 0 h 19215"/>
              <a:gd name="connsiteX1" fmla="*/ 29 w 20395"/>
              <a:gd name="connsiteY1" fmla="*/ 4378 h 19215"/>
              <a:gd name="connsiteX2" fmla="*/ 1807 w 20395"/>
              <a:gd name="connsiteY2" fmla="*/ 18133 h 19215"/>
              <a:gd name="connsiteX3" fmla="*/ 12310 w 20395"/>
              <a:gd name="connsiteY3" fmla="*/ 17768 h 19215"/>
              <a:gd name="connsiteX4" fmla="*/ 20159 w 20395"/>
              <a:gd name="connsiteY4" fmla="*/ 13229 h 19215"/>
              <a:gd name="connsiteX5" fmla="*/ 19680 w 20395"/>
              <a:gd name="connsiteY5" fmla="*/ 0 h 19215"/>
              <a:gd name="connsiteX6" fmla="*/ 990 w 20395"/>
              <a:gd name="connsiteY6" fmla="*/ 0 h 19215"/>
              <a:gd name="connsiteX0" fmla="*/ 990 w 20463"/>
              <a:gd name="connsiteY0" fmla="*/ 0 h 19282"/>
              <a:gd name="connsiteX1" fmla="*/ 29 w 20463"/>
              <a:gd name="connsiteY1" fmla="*/ 4378 h 19282"/>
              <a:gd name="connsiteX2" fmla="*/ 1807 w 20463"/>
              <a:gd name="connsiteY2" fmla="*/ 18133 h 19282"/>
              <a:gd name="connsiteX3" fmla="*/ 12264 w 20463"/>
              <a:gd name="connsiteY3" fmla="*/ 17945 h 19282"/>
              <a:gd name="connsiteX4" fmla="*/ 20159 w 20463"/>
              <a:gd name="connsiteY4" fmla="*/ 13229 h 19282"/>
              <a:gd name="connsiteX5" fmla="*/ 19680 w 20463"/>
              <a:gd name="connsiteY5" fmla="*/ 0 h 19282"/>
              <a:gd name="connsiteX6" fmla="*/ 990 w 20463"/>
              <a:gd name="connsiteY6" fmla="*/ 0 h 19282"/>
              <a:gd name="connsiteX0" fmla="*/ 990 w 20351"/>
              <a:gd name="connsiteY0" fmla="*/ 0 h 19282"/>
              <a:gd name="connsiteX1" fmla="*/ 29 w 20351"/>
              <a:gd name="connsiteY1" fmla="*/ 4378 h 19282"/>
              <a:gd name="connsiteX2" fmla="*/ 1807 w 20351"/>
              <a:gd name="connsiteY2" fmla="*/ 18133 h 19282"/>
              <a:gd name="connsiteX3" fmla="*/ 12264 w 20351"/>
              <a:gd name="connsiteY3" fmla="*/ 17945 h 19282"/>
              <a:gd name="connsiteX4" fmla="*/ 20159 w 20351"/>
              <a:gd name="connsiteY4" fmla="*/ 13229 h 19282"/>
              <a:gd name="connsiteX5" fmla="*/ 19680 w 20351"/>
              <a:gd name="connsiteY5" fmla="*/ 0 h 19282"/>
              <a:gd name="connsiteX6" fmla="*/ 990 w 20351"/>
              <a:gd name="connsiteY6" fmla="*/ 0 h 19282"/>
              <a:gd name="connsiteX0" fmla="*/ 990 w 20430"/>
              <a:gd name="connsiteY0" fmla="*/ 0 h 19282"/>
              <a:gd name="connsiteX1" fmla="*/ 29 w 20430"/>
              <a:gd name="connsiteY1" fmla="*/ 4378 h 19282"/>
              <a:gd name="connsiteX2" fmla="*/ 1807 w 20430"/>
              <a:gd name="connsiteY2" fmla="*/ 18133 h 19282"/>
              <a:gd name="connsiteX3" fmla="*/ 12264 w 20430"/>
              <a:gd name="connsiteY3" fmla="*/ 17945 h 19282"/>
              <a:gd name="connsiteX4" fmla="*/ 20159 w 20430"/>
              <a:gd name="connsiteY4" fmla="*/ 13229 h 19282"/>
              <a:gd name="connsiteX5" fmla="*/ 19680 w 20430"/>
              <a:gd name="connsiteY5" fmla="*/ 0 h 19282"/>
              <a:gd name="connsiteX6" fmla="*/ 990 w 20430"/>
              <a:gd name="connsiteY6" fmla="*/ 0 h 19282"/>
              <a:gd name="connsiteX0" fmla="*/ 990 w 20430"/>
              <a:gd name="connsiteY0" fmla="*/ 0 h 19224"/>
              <a:gd name="connsiteX1" fmla="*/ 29 w 20430"/>
              <a:gd name="connsiteY1" fmla="*/ 4378 h 19224"/>
              <a:gd name="connsiteX2" fmla="*/ 1807 w 20430"/>
              <a:gd name="connsiteY2" fmla="*/ 18133 h 19224"/>
              <a:gd name="connsiteX3" fmla="*/ 12264 w 20430"/>
              <a:gd name="connsiteY3" fmla="*/ 17945 h 19224"/>
              <a:gd name="connsiteX4" fmla="*/ 20159 w 20430"/>
              <a:gd name="connsiteY4" fmla="*/ 13229 h 19224"/>
              <a:gd name="connsiteX5" fmla="*/ 19680 w 20430"/>
              <a:gd name="connsiteY5" fmla="*/ 0 h 19224"/>
              <a:gd name="connsiteX6" fmla="*/ 990 w 20430"/>
              <a:gd name="connsiteY6" fmla="*/ 0 h 19224"/>
              <a:gd name="connsiteX0" fmla="*/ 389 w 19829"/>
              <a:gd name="connsiteY0" fmla="*/ 0 h 19234"/>
              <a:gd name="connsiteX1" fmla="*/ 308 w 19829"/>
              <a:gd name="connsiteY1" fmla="*/ 5041 h 19234"/>
              <a:gd name="connsiteX2" fmla="*/ 1206 w 19829"/>
              <a:gd name="connsiteY2" fmla="*/ 18133 h 19234"/>
              <a:gd name="connsiteX3" fmla="*/ 11663 w 19829"/>
              <a:gd name="connsiteY3" fmla="*/ 17945 h 19234"/>
              <a:gd name="connsiteX4" fmla="*/ 19558 w 19829"/>
              <a:gd name="connsiteY4" fmla="*/ 13229 h 19234"/>
              <a:gd name="connsiteX5" fmla="*/ 19079 w 19829"/>
              <a:gd name="connsiteY5" fmla="*/ 0 h 19234"/>
              <a:gd name="connsiteX6" fmla="*/ 389 w 19829"/>
              <a:gd name="connsiteY6" fmla="*/ 0 h 19234"/>
              <a:gd name="connsiteX0" fmla="*/ 738 w 20178"/>
              <a:gd name="connsiteY0" fmla="*/ 0 h 18623"/>
              <a:gd name="connsiteX1" fmla="*/ 55 w 20178"/>
              <a:gd name="connsiteY1" fmla="*/ 13571 h 18623"/>
              <a:gd name="connsiteX2" fmla="*/ 1555 w 20178"/>
              <a:gd name="connsiteY2" fmla="*/ 18133 h 18623"/>
              <a:gd name="connsiteX3" fmla="*/ 12012 w 20178"/>
              <a:gd name="connsiteY3" fmla="*/ 17945 h 18623"/>
              <a:gd name="connsiteX4" fmla="*/ 19907 w 20178"/>
              <a:gd name="connsiteY4" fmla="*/ 13229 h 18623"/>
              <a:gd name="connsiteX5" fmla="*/ 19428 w 20178"/>
              <a:gd name="connsiteY5" fmla="*/ 0 h 18623"/>
              <a:gd name="connsiteX6" fmla="*/ 738 w 20178"/>
              <a:gd name="connsiteY6" fmla="*/ 0 h 18623"/>
              <a:gd name="connsiteX0" fmla="*/ 469 w 20372"/>
              <a:gd name="connsiteY0" fmla="*/ 0 h 18623"/>
              <a:gd name="connsiteX1" fmla="*/ 249 w 20372"/>
              <a:gd name="connsiteY1" fmla="*/ 13571 h 18623"/>
              <a:gd name="connsiteX2" fmla="*/ 1749 w 20372"/>
              <a:gd name="connsiteY2" fmla="*/ 18133 h 18623"/>
              <a:gd name="connsiteX3" fmla="*/ 12206 w 20372"/>
              <a:gd name="connsiteY3" fmla="*/ 17945 h 18623"/>
              <a:gd name="connsiteX4" fmla="*/ 20101 w 20372"/>
              <a:gd name="connsiteY4" fmla="*/ 13229 h 18623"/>
              <a:gd name="connsiteX5" fmla="*/ 19622 w 20372"/>
              <a:gd name="connsiteY5" fmla="*/ 0 h 18623"/>
              <a:gd name="connsiteX6" fmla="*/ 469 w 20372"/>
              <a:gd name="connsiteY6" fmla="*/ 0 h 18623"/>
              <a:gd name="connsiteX0" fmla="*/ 244 w 20147"/>
              <a:gd name="connsiteY0" fmla="*/ 0 h 18623"/>
              <a:gd name="connsiteX1" fmla="*/ 24 w 20147"/>
              <a:gd name="connsiteY1" fmla="*/ 13571 h 18623"/>
              <a:gd name="connsiteX2" fmla="*/ 1524 w 20147"/>
              <a:gd name="connsiteY2" fmla="*/ 18133 h 18623"/>
              <a:gd name="connsiteX3" fmla="*/ 11981 w 20147"/>
              <a:gd name="connsiteY3" fmla="*/ 17945 h 18623"/>
              <a:gd name="connsiteX4" fmla="*/ 19876 w 20147"/>
              <a:gd name="connsiteY4" fmla="*/ 13229 h 18623"/>
              <a:gd name="connsiteX5" fmla="*/ 19397 w 20147"/>
              <a:gd name="connsiteY5" fmla="*/ 0 h 18623"/>
              <a:gd name="connsiteX6" fmla="*/ 244 w 20147"/>
              <a:gd name="connsiteY6" fmla="*/ 0 h 18623"/>
              <a:gd name="connsiteX0" fmla="*/ 1546 w 21449"/>
              <a:gd name="connsiteY0" fmla="*/ 0 h 18623"/>
              <a:gd name="connsiteX1" fmla="*/ 1326 w 21449"/>
              <a:gd name="connsiteY1" fmla="*/ 13571 h 18623"/>
              <a:gd name="connsiteX2" fmla="*/ 2826 w 21449"/>
              <a:gd name="connsiteY2" fmla="*/ 18133 h 18623"/>
              <a:gd name="connsiteX3" fmla="*/ 13283 w 21449"/>
              <a:gd name="connsiteY3" fmla="*/ 17945 h 18623"/>
              <a:gd name="connsiteX4" fmla="*/ 21178 w 21449"/>
              <a:gd name="connsiteY4" fmla="*/ 13229 h 18623"/>
              <a:gd name="connsiteX5" fmla="*/ 20699 w 21449"/>
              <a:gd name="connsiteY5" fmla="*/ 0 h 18623"/>
              <a:gd name="connsiteX6" fmla="*/ 1546 w 21449"/>
              <a:gd name="connsiteY6" fmla="*/ 0 h 18623"/>
              <a:gd name="connsiteX0" fmla="*/ 239 w 20142"/>
              <a:gd name="connsiteY0" fmla="*/ 0 h 18623"/>
              <a:gd name="connsiteX1" fmla="*/ 19 w 20142"/>
              <a:gd name="connsiteY1" fmla="*/ 13571 h 18623"/>
              <a:gd name="connsiteX2" fmla="*/ 1519 w 20142"/>
              <a:gd name="connsiteY2" fmla="*/ 18133 h 18623"/>
              <a:gd name="connsiteX3" fmla="*/ 11976 w 20142"/>
              <a:gd name="connsiteY3" fmla="*/ 17945 h 18623"/>
              <a:gd name="connsiteX4" fmla="*/ 19871 w 20142"/>
              <a:gd name="connsiteY4" fmla="*/ 13229 h 18623"/>
              <a:gd name="connsiteX5" fmla="*/ 19392 w 20142"/>
              <a:gd name="connsiteY5" fmla="*/ 0 h 18623"/>
              <a:gd name="connsiteX6" fmla="*/ 239 w 20142"/>
              <a:gd name="connsiteY6" fmla="*/ 0 h 18623"/>
              <a:gd name="connsiteX0" fmla="*/ 302 w 20205"/>
              <a:gd name="connsiteY0" fmla="*/ 0 h 19331"/>
              <a:gd name="connsiteX1" fmla="*/ 82 w 20205"/>
              <a:gd name="connsiteY1" fmla="*/ 13571 h 19331"/>
              <a:gd name="connsiteX2" fmla="*/ 3295 w 20205"/>
              <a:gd name="connsiteY2" fmla="*/ 19061 h 19331"/>
              <a:gd name="connsiteX3" fmla="*/ 12039 w 20205"/>
              <a:gd name="connsiteY3" fmla="*/ 17945 h 19331"/>
              <a:gd name="connsiteX4" fmla="*/ 19934 w 20205"/>
              <a:gd name="connsiteY4" fmla="*/ 13229 h 19331"/>
              <a:gd name="connsiteX5" fmla="*/ 19455 w 20205"/>
              <a:gd name="connsiteY5" fmla="*/ 0 h 19331"/>
              <a:gd name="connsiteX6" fmla="*/ 302 w 20205"/>
              <a:gd name="connsiteY6" fmla="*/ 0 h 19331"/>
              <a:gd name="connsiteX0" fmla="*/ 170 w 20073"/>
              <a:gd name="connsiteY0" fmla="*/ 0 h 19312"/>
              <a:gd name="connsiteX1" fmla="*/ 89 w 20073"/>
              <a:gd name="connsiteY1" fmla="*/ 13836 h 19312"/>
              <a:gd name="connsiteX2" fmla="*/ 3163 w 20073"/>
              <a:gd name="connsiteY2" fmla="*/ 19061 h 19312"/>
              <a:gd name="connsiteX3" fmla="*/ 11907 w 20073"/>
              <a:gd name="connsiteY3" fmla="*/ 17945 h 19312"/>
              <a:gd name="connsiteX4" fmla="*/ 19802 w 20073"/>
              <a:gd name="connsiteY4" fmla="*/ 13229 h 19312"/>
              <a:gd name="connsiteX5" fmla="*/ 19323 w 20073"/>
              <a:gd name="connsiteY5" fmla="*/ 0 h 19312"/>
              <a:gd name="connsiteX6" fmla="*/ 170 w 20073"/>
              <a:gd name="connsiteY6" fmla="*/ 0 h 19312"/>
              <a:gd name="connsiteX0" fmla="*/ 83 w 19986"/>
              <a:gd name="connsiteY0" fmla="*/ 0 h 19312"/>
              <a:gd name="connsiteX1" fmla="*/ 2 w 19986"/>
              <a:gd name="connsiteY1" fmla="*/ 13836 h 19312"/>
              <a:gd name="connsiteX2" fmla="*/ 3076 w 19986"/>
              <a:gd name="connsiteY2" fmla="*/ 19061 h 19312"/>
              <a:gd name="connsiteX3" fmla="*/ 11820 w 19986"/>
              <a:gd name="connsiteY3" fmla="*/ 17945 h 19312"/>
              <a:gd name="connsiteX4" fmla="*/ 19715 w 19986"/>
              <a:gd name="connsiteY4" fmla="*/ 13229 h 19312"/>
              <a:gd name="connsiteX5" fmla="*/ 19236 w 19986"/>
              <a:gd name="connsiteY5" fmla="*/ 0 h 19312"/>
              <a:gd name="connsiteX6" fmla="*/ 83 w 19986"/>
              <a:gd name="connsiteY6" fmla="*/ 0 h 19312"/>
              <a:gd name="connsiteX0" fmla="*/ 178 w 20081"/>
              <a:gd name="connsiteY0" fmla="*/ 0 h 19162"/>
              <a:gd name="connsiteX1" fmla="*/ 97 w 20081"/>
              <a:gd name="connsiteY1" fmla="*/ 13836 h 19162"/>
              <a:gd name="connsiteX2" fmla="*/ 3356 w 20081"/>
              <a:gd name="connsiteY2" fmla="*/ 18884 h 19162"/>
              <a:gd name="connsiteX3" fmla="*/ 11915 w 20081"/>
              <a:gd name="connsiteY3" fmla="*/ 17945 h 19162"/>
              <a:gd name="connsiteX4" fmla="*/ 19810 w 20081"/>
              <a:gd name="connsiteY4" fmla="*/ 13229 h 19162"/>
              <a:gd name="connsiteX5" fmla="*/ 19331 w 20081"/>
              <a:gd name="connsiteY5" fmla="*/ 0 h 19162"/>
              <a:gd name="connsiteX6" fmla="*/ 178 w 20081"/>
              <a:gd name="connsiteY6" fmla="*/ 0 h 19162"/>
              <a:gd name="connsiteX0" fmla="*/ 178 w 20081"/>
              <a:gd name="connsiteY0" fmla="*/ 0 h 19200"/>
              <a:gd name="connsiteX1" fmla="*/ 97 w 20081"/>
              <a:gd name="connsiteY1" fmla="*/ 13836 h 19200"/>
              <a:gd name="connsiteX2" fmla="*/ 3356 w 20081"/>
              <a:gd name="connsiteY2" fmla="*/ 18884 h 19200"/>
              <a:gd name="connsiteX3" fmla="*/ 11915 w 20081"/>
              <a:gd name="connsiteY3" fmla="*/ 17945 h 19200"/>
              <a:gd name="connsiteX4" fmla="*/ 19810 w 20081"/>
              <a:gd name="connsiteY4" fmla="*/ 13229 h 19200"/>
              <a:gd name="connsiteX5" fmla="*/ 19331 w 20081"/>
              <a:gd name="connsiteY5" fmla="*/ 0 h 19200"/>
              <a:gd name="connsiteX6" fmla="*/ 178 w 20081"/>
              <a:gd name="connsiteY6" fmla="*/ 0 h 19200"/>
              <a:gd name="connsiteX0" fmla="*/ 88 w 19991"/>
              <a:gd name="connsiteY0" fmla="*/ 0 h 19200"/>
              <a:gd name="connsiteX1" fmla="*/ 7 w 19991"/>
              <a:gd name="connsiteY1" fmla="*/ 13836 h 19200"/>
              <a:gd name="connsiteX2" fmla="*/ 3266 w 19991"/>
              <a:gd name="connsiteY2" fmla="*/ 18884 h 19200"/>
              <a:gd name="connsiteX3" fmla="*/ 11825 w 19991"/>
              <a:gd name="connsiteY3" fmla="*/ 17945 h 19200"/>
              <a:gd name="connsiteX4" fmla="*/ 19720 w 19991"/>
              <a:gd name="connsiteY4" fmla="*/ 13229 h 19200"/>
              <a:gd name="connsiteX5" fmla="*/ 19241 w 19991"/>
              <a:gd name="connsiteY5" fmla="*/ 0 h 19200"/>
              <a:gd name="connsiteX6" fmla="*/ 88 w 19991"/>
              <a:gd name="connsiteY6" fmla="*/ 0 h 19200"/>
              <a:gd name="connsiteX0" fmla="*/ 88 w 19991"/>
              <a:gd name="connsiteY0" fmla="*/ 0 h 19200"/>
              <a:gd name="connsiteX1" fmla="*/ 7 w 19991"/>
              <a:gd name="connsiteY1" fmla="*/ 13836 h 19200"/>
              <a:gd name="connsiteX2" fmla="*/ 3266 w 19991"/>
              <a:gd name="connsiteY2" fmla="*/ 18884 h 19200"/>
              <a:gd name="connsiteX3" fmla="*/ 11825 w 19991"/>
              <a:gd name="connsiteY3" fmla="*/ 17945 h 19200"/>
              <a:gd name="connsiteX4" fmla="*/ 19720 w 19991"/>
              <a:gd name="connsiteY4" fmla="*/ 13229 h 19200"/>
              <a:gd name="connsiteX5" fmla="*/ 19241 w 19991"/>
              <a:gd name="connsiteY5" fmla="*/ 0 h 19200"/>
              <a:gd name="connsiteX6" fmla="*/ 88 w 19991"/>
              <a:gd name="connsiteY6" fmla="*/ 0 h 19200"/>
              <a:gd name="connsiteX0" fmla="*/ 88 w 19991"/>
              <a:gd name="connsiteY0" fmla="*/ 0 h 19216"/>
              <a:gd name="connsiteX1" fmla="*/ 7 w 19991"/>
              <a:gd name="connsiteY1" fmla="*/ 13836 h 19216"/>
              <a:gd name="connsiteX2" fmla="*/ 3266 w 19991"/>
              <a:gd name="connsiteY2" fmla="*/ 18884 h 19216"/>
              <a:gd name="connsiteX3" fmla="*/ 11825 w 19991"/>
              <a:gd name="connsiteY3" fmla="*/ 17945 h 19216"/>
              <a:gd name="connsiteX4" fmla="*/ 19720 w 19991"/>
              <a:gd name="connsiteY4" fmla="*/ 13229 h 19216"/>
              <a:gd name="connsiteX5" fmla="*/ 19241 w 19991"/>
              <a:gd name="connsiteY5" fmla="*/ 0 h 19216"/>
              <a:gd name="connsiteX6" fmla="*/ 88 w 19991"/>
              <a:gd name="connsiteY6" fmla="*/ 0 h 19216"/>
              <a:gd name="connsiteX0" fmla="*/ 88 w 20007"/>
              <a:gd name="connsiteY0" fmla="*/ 0 h 19131"/>
              <a:gd name="connsiteX1" fmla="*/ 7 w 20007"/>
              <a:gd name="connsiteY1" fmla="*/ 13836 h 19131"/>
              <a:gd name="connsiteX2" fmla="*/ 3266 w 20007"/>
              <a:gd name="connsiteY2" fmla="*/ 18884 h 19131"/>
              <a:gd name="connsiteX3" fmla="*/ 12103 w 20007"/>
              <a:gd name="connsiteY3" fmla="*/ 17768 h 19131"/>
              <a:gd name="connsiteX4" fmla="*/ 19720 w 20007"/>
              <a:gd name="connsiteY4" fmla="*/ 13229 h 19131"/>
              <a:gd name="connsiteX5" fmla="*/ 19241 w 20007"/>
              <a:gd name="connsiteY5" fmla="*/ 0 h 19131"/>
              <a:gd name="connsiteX6" fmla="*/ 88 w 20007"/>
              <a:gd name="connsiteY6" fmla="*/ 0 h 19131"/>
              <a:gd name="connsiteX0" fmla="*/ 88 w 19943"/>
              <a:gd name="connsiteY0" fmla="*/ 0 h 19131"/>
              <a:gd name="connsiteX1" fmla="*/ 7 w 19943"/>
              <a:gd name="connsiteY1" fmla="*/ 13836 h 19131"/>
              <a:gd name="connsiteX2" fmla="*/ 3266 w 19943"/>
              <a:gd name="connsiteY2" fmla="*/ 18884 h 19131"/>
              <a:gd name="connsiteX3" fmla="*/ 12103 w 19943"/>
              <a:gd name="connsiteY3" fmla="*/ 17768 h 19131"/>
              <a:gd name="connsiteX4" fmla="*/ 19720 w 19943"/>
              <a:gd name="connsiteY4" fmla="*/ 13229 h 19131"/>
              <a:gd name="connsiteX5" fmla="*/ 19241 w 19943"/>
              <a:gd name="connsiteY5" fmla="*/ 0 h 19131"/>
              <a:gd name="connsiteX6" fmla="*/ 88 w 19943"/>
              <a:gd name="connsiteY6" fmla="*/ 0 h 19131"/>
              <a:gd name="connsiteX0" fmla="*/ 88 w 19959"/>
              <a:gd name="connsiteY0" fmla="*/ 0 h 19131"/>
              <a:gd name="connsiteX1" fmla="*/ 7 w 19959"/>
              <a:gd name="connsiteY1" fmla="*/ 13836 h 19131"/>
              <a:gd name="connsiteX2" fmla="*/ 3266 w 19959"/>
              <a:gd name="connsiteY2" fmla="*/ 18884 h 19131"/>
              <a:gd name="connsiteX3" fmla="*/ 12103 w 19959"/>
              <a:gd name="connsiteY3" fmla="*/ 17768 h 19131"/>
              <a:gd name="connsiteX4" fmla="*/ 19720 w 19959"/>
              <a:gd name="connsiteY4" fmla="*/ 13229 h 19131"/>
              <a:gd name="connsiteX5" fmla="*/ 19241 w 19959"/>
              <a:gd name="connsiteY5" fmla="*/ 0 h 19131"/>
              <a:gd name="connsiteX6" fmla="*/ 88 w 19959"/>
              <a:gd name="connsiteY6" fmla="*/ 0 h 19131"/>
              <a:gd name="connsiteX0" fmla="*/ 88 w 20049"/>
              <a:gd name="connsiteY0" fmla="*/ 0 h 19165"/>
              <a:gd name="connsiteX1" fmla="*/ 7 w 20049"/>
              <a:gd name="connsiteY1" fmla="*/ 13836 h 19165"/>
              <a:gd name="connsiteX2" fmla="*/ 3266 w 20049"/>
              <a:gd name="connsiteY2" fmla="*/ 18884 h 19165"/>
              <a:gd name="connsiteX3" fmla="*/ 11409 w 20049"/>
              <a:gd name="connsiteY3" fmla="*/ 17901 h 19165"/>
              <a:gd name="connsiteX4" fmla="*/ 19720 w 20049"/>
              <a:gd name="connsiteY4" fmla="*/ 13229 h 19165"/>
              <a:gd name="connsiteX5" fmla="*/ 19241 w 20049"/>
              <a:gd name="connsiteY5" fmla="*/ 0 h 19165"/>
              <a:gd name="connsiteX6" fmla="*/ 88 w 20049"/>
              <a:gd name="connsiteY6" fmla="*/ 0 h 19165"/>
              <a:gd name="connsiteX0" fmla="*/ 88 w 20015"/>
              <a:gd name="connsiteY0" fmla="*/ 0 h 19165"/>
              <a:gd name="connsiteX1" fmla="*/ 7 w 20015"/>
              <a:gd name="connsiteY1" fmla="*/ 13836 h 19165"/>
              <a:gd name="connsiteX2" fmla="*/ 3266 w 20015"/>
              <a:gd name="connsiteY2" fmla="*/ 18884 h 19165"/>
              <a:gd name="connsiteX3" fmla="*/ 11409 w 20015"/>
              <a:gd name="connsiteY3" fmla="*/ 17901 h 19165"/>
              <a:gd name="connsiteX4" fmla="*/ 19720 w 20015"/>
              <a:gd name="connsiteY4" fmla="*/ 13229 h 19165"/>
              <a:gd name="connsiteX5" fmla="*/ 19241 w 20015"/>
              <a:gd name="connsiteY5" fmla="*/ 0 h 19165"/>
              <a:gd name="connsiteX6" fmla="*/ 88 w 20015"/>
              <a:gd name="connsiteY6" fmla="*/ 0 h 19165"/>
              <a:gd name="connsiteX0" fmla="*/ 88 w 19982"/>
              <a:gd name="connsiteY0" fmla="*/ 0 h 19165"/>
              <a:gd name="connsiteX1" fmla="*/ 7 w 19982"/>
              <a:gd name="connsiteY1" fmla="*/ 13836 h 19165"/>
              <a:gd name="connsiteX2" fmla="*/ 3266 w 19982"/>
              <a:gd name="connsiteY2" fmla="*/ 18884 h 19165"/>
              <a:gd name="connsiteX3" fmla="*/ 11409 w 19982"/>
              <a:gd name="connsiteY3" fmla="*/ 17901 h 19165"/>
              <a:gd name="connsiteX4" fmla="*/ 19720 w 19982"/>
              <a:gd name="connsiteY4" fmla="*/ 13229 h 19165"/>
              <a:gd name="connsiteX5" fmla="*/ 19241 w 19982"/>
              <a:gd name="connsiteY5" fmla="*/ 0 h 19165"/>
              <a:gd name="connsiteX6" fmla="*/ 88 w 19982"/>
              <a:gd name="connsiteY6" fmla="*/ 0 h 19165"/>
              <a:gd name="connsiteX0" fmla="*/ 88 w 20043"/>
              <a:gd name="connsiteY0" fmla="*/ 0 h 19263"/>
              <a:gd name="connsiteX1" fmla="*/ 7 w 20043"/>
              <a:gd name="connsiteY1" fmla="*/ 13836 h 19263"/>
              <a:gd name="connsiteX2" fmla="*/ 3266 w 20043"/>
              <a:gd name="connsiteY2" fmla="*/ 18884 h 19263"/>
              <a:gd name="connsiteX3" fmla="*/ 11502 w 20043"/>
              <a:gd name="connsiteY3" fmla="*/ 18210 h 19263"/>
              <a:gd name="connsiteX4" fmla="*/ 19720 w 20043"/>
              <a:gd name="connsiteY4" fmla="*/ 13229 h 19263"/>
              <a:gd name="connsiteX5" fmla="*/ 19241 w 20043"/>
              <a:gd name="connsiteY5" fmla="*/ 0 h 19263"/>
              <a:gd name="connsiteX6" fmla="*/ 88 w 20043"/>
              <a:gd name="connsiteY6" fmla="*/ 0 h 19263"/>
              <a:gd name="connsiteX0" fmla="*/ 88 w 19900"/>
              <a:gd name="connsiteY0" fmla="*/ 0 h 19263"/>
              <a:gd name="connsiteX1" fmla="*/ 7 w 19900"/>
              <a:gd name="connsiteY1" fmla="*/ 13836 h 19263"/>
              <a:gd name="connsiteX2" fmla="*/ 3266 w 19900"/>
              <a:gd name="connsiteY2" fmla="*/ 18884 h 19263"/>
              <a:gd name="connsiteX3" fmla="*/ 11502 w 19900"/>
              <a:gd name="connsiteY3" fmla="*/ 18210 h 19263"/>
              <a:gd name="connsiteX4" fmla="*/ 19720 w 19900"/>
              <a:gd name="connsiteY4" fmla="*/ 13229 h 19263"/>
              <a:gd name="connsiteX5" fmla="*/ 19241 w 19900"/>
              <a:gd name="connsiteY5" fmla="*/ 0 h 19263"/>
              <a:gd name="connsiteX6" fmla="*/ 88 w 19900"/>
              <a:gd name="connsiteY6" fmla="*/ 0 h 19263"/>
              <a:gd name="connsiteX0" fmla="*/ 88 w 19961"/>
              <a:gd name="connsiteY0" fmla="*/ 0 h 19263"/>
              <a:gd name="connsiteX1" fmla="*/ 7 w 19961"/>
              <a:gd name="connsiteY1" fmla="*/ 13836 h 19263"/>
              <a:gd name="connsiteX2" fmla="*/ 3266 w 19961"/>
              <a:gd name="connsiteY2" fmla="*/ 18884 h 19263"/>
              <a:gd name="connsiteX3" fmla="*/ 11502 w 19961"/>
              <a:gd name="connsiteY3" fmla="*/ 18210 h 19263"/>
              <a:gd name="connsiteX4" fmla="*/ 19720 w 19961"/>
              <a:gd name="connsiteY4" fmla="*/ 13229 h 19263"/>
              <a:gd name="connsiteX5" fmla="*/ 19241 w 19961"/>
              <a:gd name="connsiteY5" fmla="*/ 0 h 19263"/>
              <a:gd name="connsiteX6" fmla="*/ 88 w 19961"/>
              <a:gd name="connsiteY6" fmla="*/ 0 h 19263"/>
              <a:gd name="connsiteX0" fmla="*/ 171 w 20044"/>
              <a:gd name="connsiteY0" fmla="*/ 0 h 19454"/>
              <a:gd name="connsiteX1" fmla="*/ 90 w 20044"/>
              <a:gd name="connsiteY1" fmla="*/ 13836 h 19454"/>
              <a:gd name="connsiteX2" fmla="*/ 3210 w 20044"/>
              <a:gd name="connsiteY2" fmla="*/ 19149 h 19454"/>
              <a:gd name="connsiteX3" fmla="*/ 11585 w 20044"/>
              <a:gd name="connsiteY3" fmla="*/ 18210 h 19454"/>
              <a:gd name="connsiteX4" fmla="*/ 19803 w 20044"/>
              <a:gd name="connsiteY4" fmla="*/ 13229 h 19454"/>
              <a:gd name="connsiteX5" fmla="*/ 19324 w 20044"/>
              <a:gd name="connsiteY5" fmla="*/ 0 h 19454"/>
              <a:gd name="connsiteX6" fmla="*/ 171 w 20044"/>
              <a:gd name="connsiteY6" fmla="*/ 0 h 19454"/>
              <a:gd name="connsiteX0" fmla="*/ 171 w 20101"/>
              <a:gd name="connsiteY0" fmla="*/ 0 h 19369"/>
              <a:gd name="connsiteX1" fmla="*/ 90 w 20101"/>
              <a:gd name="connsiteY1" fmla="*/ 13836 h 19369"/>
              <a:gd name="connsiteX2" fmla="*/ 3210 w 20101"/>
              <a:gd name="connsiteY2" fmla="*/ 19149 h 19369"/>
              <a:gd name="connsiteX3" fmla="*/ 12002 w 20101"/>
              <a:gd name="connsiteY3" fmla="*/ 17856 h 19369"/>
              <a:gd name="connsiteX4" fmla="*/ 19803 w 20101"/>
              <a:gd name="connsiteY4" fmla="*/ 13229 h 19369"/>
              <a:gd name="connsiteX5" fmla="*/ 19324 w 20101"/>
              <a:gd name="connsiteY5" fmla="*/ 0 h 19369"/>
              <a:gd name="connsiteX6" fmla="*/ 171 w 20101"/>
              <a:gd name="connsiteY6" fmla="*/ 0 h 19369"/>
              <a:gd name="connsiteX0" fmla="*/ 171 w 20101"/>
              <a:gd name="connsiteY0" fmla="*/ 0 h 19328"/>
              <a:gd name="connsiteX1" fmla="*/ 90 w 20101"/>
              <a:gd name="connsiteY1" fmla="*/ 13836 h 19328"/>
              <a:gd name="connsiteX2" fmla="*/ 3210 w 20101"/>
              <a:gd name="connsiteY2" fmla="*/ 19149 h 19328"/>
              <a:gd name="connsiteX3" fmla="*/ 12002 w 20101"/>
              <a:gd name="connsiteY3" fmla="*/ 17856 h 19328"/>
              <a:gd name="connsiteX4" fmla="*/ 19803 w 20101"/>
              <a:gd name="connsiteY4" fmla="*/ 13229 h 19328"/>
              <a:gd name="connsiteX5" fmla="*/ 19324 w 20101"/>
              <a:gd name="connsiteY5" fmla="*/ 0 h 19328"/>
              <a:gd name="connsiteX6" fmla="*/ 171 w 20101"/>
              <a:gd name="connsiteY6" fmla="*/ 0 h 19328"/>
              <a:gd name="connsiteX0" fmla="*/ 171 w 20101"/>
              <a:gd name="connsiteY0" fmla="*/ 0 h 19328"/>
              <a:gd name="connsiteX1" fmla="*/ 90 w 20101"/>
              <a:gd name="connsiteY1" fmla="*/ 13836 h 19328"/>
              <a:gd name="connsiteX2" fmla="*/ 3210 w 20101"/>
              <a:gd name="connsiteY2" fmla="*/ 19149 h 19328"/>
              <a:gd name="connsiteX3" fmla="*/ 12002 w 20101"/>
              <a:gd name="connsiteY3" fmla="*/ 17856 h 19328"/>
              <a:gd name="connsiteX4" fmla="*/ 19803 w 20101"/>
              <a:gd name="connsiteY4" fmla="*/ 13229 h 19328"/>
              <a:gd name="connsiteX5" fmla="*/ 19324 w 20101"/>
              <a:gd name="connsiteY5" fmla="*/ 0 h 19328"/>
              <a:gd name="connsiteX6" fmla="*/ 171 w 20101"/>
              <a:gd name="connsiteY6" fmla="*/ 0 h 19328"/>
              <a:gd name="connsiteX0" fmla="*/ 171 w 20118"/>
              <a:gd name="connsiteY0" fmla="*/ 0 h 19328"/>
              <a:gd name="connsiteX1" fmla="*/ 90 w 20118"/>
              <a:gd name="connsiteY1" fmla="*/ 13836 h 19328"/>
              <a:gd name="connsiteX2" fmla="*/ 3210 w 20118"/>
              <a:gd name="connsiteY2" fmla="*/ 19149 h 19328"/>
              <a:gd name="connsiteX3" fmla="*/ 12002 w 20118"/>
              <a:gd name="connsiteY3" fmla="*/ 17856 h 19328"/>
              <a:gd name="connsiteX4" fmla="*/ 19803 w 20118"/>
              <a:gd name="connsiteY4" fmla="*/ 13229 h 19328"/>
              <a:gd name="connsiteX5" fmla="*/ 19324 w 20118"/>
              <a:gd name="connsiteY5" fmla="*/ 0 h 19328"/>
              <a:gd name="connsiteX6" fmla="*/ 171 w 20118"/>
              <a:gd name="connsiteY6" fmla="*/ 0 h 19328"/>
              <a:gd name="connsiteX0" fmla="*/ 171 w 20118"/>
              <a:gd name="connsiteY0" fmla="*/ 0 h 19502"/>
              <a:gd name="connsiteX1" fmla="*/ 90 w 20118"/>
              <a:gd name="connsiteY1" fmla="*/ 13836 h 19502"/>
              <a:gd name="connsiteX2" fmla="*/ 3210 w 20118"/>
              <a:gd name="connsiteY2" fmla="*/ 19149 h 19502"/>
              <a:gd name="connsiteX3" fmla="*/ 12002 w 20118"/>
              <a:gd name="connsiteY3" fmla="*/ 17856 h 19502"/>
              <a:gd name="connsiteX4" fmla="*/ 19803 w 20118"/>
              <a:gd name="connsiteY4" fmla="*/ 13229 h 19502"/>
              <a:gd name="connsiteX5" fmla="*/ 19324 w 20118"/>
              <a:gd name="connsiteY5" fmla="*/ 0 h 19502"/>
              <a:gd name="connsiteX6" fmla="*/ 171 w 20118"/>
              <a:gd name="connsiteY6" fmla="*/ 0 h 19502"/>
              <a:gd name="connsiteX0" fmla="*/ 171 w 20118"/>
              <a:gd name="connsiteY0" fmla="*/ 0 h 19484"/>
              <a:gd name="connsiteX1" fmla="*/ 90 w 20118"/>
              <a:gd name="connsiteY1" fmla="*/ 13836 h 19484"/>
              <a:gd name="connsiteX2" fmla="*/ 3210 w 20118"/>
              <a:gd name="connsiteY2" fmla="*/ 19149 h 19484"/>
              <a:gd name="connsiteX3" fmla="*/ 12002 w 20118"/>
              <a:gd name="connsiteY3" fmla="*/ 17856 h 19484"/>
              <a:gd name="connsiteX4" fmla="*/ 19803 w 20118"/>
              <a:gd name="connsiteY4" fmla="*/ 13229 h 19484"/>
              <a:gd name="connsiteX5" fmla="*/ 19324 w 20118"/>
              <a:gd name="connsiteY5" fmla="*/ 0 h 19484"/>
              <a:gd name="connsiteX6" fmla="*/ 171 w 20118"/>
              <a:gd name="connsiteY6" fmla="*/ 0 h 19484"/>
              <a:gd name="connsiteX0" fmla="*/ 105 w 20052"/>
              <a:gd name="connsiteY0" fmla="*/ 0 h 19484"/>
              <a:gd name="connsiteX1" fmla="*/ 24 w 20052"/>
              <a:gd name="connsiteY1" fmla="*/ 13836 h 19484"/>
              <a:gd name="connsiteX2" fmla="*/ 3144 w 20052"/>
              <a:gd name="connsiteY2" fmla="*/ 19149 h 19484"/>
              <a:gd name="connsiteX3" fmla="*/ 11936 w 20052"/>
              <a:gd name="connsiteY3" fmla="*/ 17856 h 19484"/>
              <a:gd name="connsiteX4" fmla="*/ 19737 w 20052"/>
              <a:gd name="connsiteY4" fmla="*/ 13229 h 19484"/>
              <a:gd name="connsiteX5" fmla="*/ 19258 w 20052"/>
              <a:gd name="connsiteY5" fmla="*/ 0 h 19484"/>
              <a:gd name="connsiteX6" fmla="*/ 105 w 20052"/>
              <a:gd name="connsiteY6" fmla="*/ 0 h 19484"/>
              <a:gd name="connsiteX0" fmla="*/ 169 w 20116"/>
              <a:gd name="connsiteY0" fmla="*/ 0 h 19348"/>
              <a:gd name="connsiteX1" fmla="*/ 88 w 20116"/>
              <a:gd name="connsiteY1" fmla="*/ 13836 h 19348"/>
              <a:gd name="connsiteX2" fmla="*/ 3162 w 20116"/>
              <a:gd name="connsiteY2" fmla="*/ 18928 h 19348"/>
              <a:gd name="connsiteX3" fmla="*/ 12000 w 20116"/>
              <a:gd name="connsiteY3" fmla="*/ 17856 h 19348"/>
              <a:gd name="connsiteX4" fmla="*/ 19801 w 20116"/>
              <a:gd name="connsiteY4" fmla="*/ 13229 h 19348"/>
              <a:gd name="connsiteX5" fmla="*/ 19322 w 20116"/>
              <a:gd name="connsiteY5" fmla="*/ 0 h 19348"/>
              <a:gd name="connsiteX6" fmla="*/ 169 w 20116"/>
              <a:gd name="connsiteY6" fmla="*/ 0 h 19348"/>
              <a:gd name="connsiteX0" fmla="*/ 169 w 20116"/>
              <a:gd name="connsiteY0" fmla="*/ 0 h 19368"/>
              <a:gd name="connsiteX1" fmla="*/ 88 w 20116"/>
              <a:gd name="connsiteY1" fmla="*/ 13836 h 19368"/>
              <a:gd name="connsiteX2" fmla="*/ 3162 w 20116"/>
              <a:gd name="connsiteY2" fmla="*/ 18928 h 19368"/>
              <a:gd name="connsiteX3" fmla="*/ 12000 w 20116"/>
              <a:gd name="connsiteY3" fmla="*/ 17856 h 19368"/>
              <a:gd name="connsiteX4" fmla="*/ 19801 w 20116"/>
              <a:gd name="connsiteY4" fmla="*/ 13229 h 19368"/>
              <a:gd name="connsiteX5" fmla="*/ 19322 w 20116"/>
              <a:gd name="connsiteY5" fmla="*/ 0 h 19368"/>
              <a:gd name="connsiteX6" fmla="*/ 169 w 20116"/>
              <a:gd name="connsiteY6" fmla="*/ 0 h 19368"/>
              <a:gd name="connsiteX0" fmla="*/ 723 w 20670"/>
              <a:gd name="connsiteY0" fmla="*/ 0 h 17862"/>
              <a:gd name="connsiteX1" fmla="*/ 642 w 20670"/>
              <a:gd name="connsiteY1" fmla="*/ 13836 h 17862"/>
              <a:gd name="connsiteX2" fmla="*/ 12554 w 20670"/>
              <a:gd name="connsiteY2" fmla="*/ 17856 h 17862"/>
              <a:gd name="connsiteX3" fmla="*/ 20355 w 20670"/>
              <a:gd name="connsiteY3" fmla="*/ 13229 h 17862"/>
              <a:gd name="connsiteX4" fmla="*/ 19876 w 20670"/>
              <a:gd name="connsiteY4" fmla="*/ 0 h 17862"/>
              <a:gd name="connsiteX5" fmla="*/ 723 w 20670"/>
              <a:gd name="connsiteY5" fmla="*/ 0 h 17862"/>
              <a:gd name="connsiteX0" fmla="*/ 425 w 20372"/>
              <a:gd name="connsiteY0" fmla="*/ 0 h 19278"/>
              <a:gd name="connsiteX1" fmla="*/ 344 w 20372"/>
              <a:gd name="connsiteY1" fmla="*/ 13836 h 19278"/>
              <a:gd name="connsiteX2" fmla="*/ 12256 w 20372"/>
              <a:gd name="connsiteY2" fmla="*/ 17856 h 19278"/>
              <a:gd name="connsiteX3" fmla="*/ 20057 w 20372"/>
              <a:gd name="connsiteY3" fmla="*/ 13229 h 19278"/>
              <a:gd name="connsiteX4" fmla="*/ 19578 w 20372"/>
              <a:gd name="connsiteY4" fmla="*/ 0 h 19278"/>
              <a:gd name="connsiteX5" fmla="*/ 425 w 20372"/>
              <a:gd name="connsiteY5" fmla="*/ 0 h 19278"/>
              <a:gd name="connsiteX0" fmla="*/ 425 w 20372"/>
              <a:gd name="connsiteY0" fmla="*/ 0 h 19588"/>
              <a:gd name="connsiteX1" fmla="*/ 344 w 20372"/>
              <a:gd name="connsiteY1" fmla="*/ 13836 h 19588"/>
              <a:gd name="connsiteX2" fmla="*/ 12256 w 20372"/>
              <a:gd name="connsiteY2" fmla="*/ 17856 h 19588"/>
              <a:gd name="connsiteX3" fmla="*/ 20057 w 20372"/>
              <a:gd name="connsiteY3" fmla="*/ 13229 h 19588"/>
              <a:gd name="connsiteX4" fmla="*/ 19578 w 20372"/>
              <a:gd name="connsiteY4" fmla="*/ 0 h 19588"/>
              <a:gd name="connsiteX5" fmla="*/ 425 w 20372"/>
              <a:gd name="connsiteY5" fmla="*/ 0 h 19588"/>
              <a:gd name="connsiteX0" fmla="*/ 425 w 20372"/>
              <a:gd name="connsiteY0" fmla="*/ 0 h 19522"/>
              <a:gd name="connsiteX1" fmla="*/ 344 w 20372"/>
              <a:gd name="connsiteY1" fmla="*/ 13836 h 19522"/>
              <a:gd name="connsiteX2" fmla="*/ 12256 w 20372"/>
              <a:gd name="connsiteY2" fmla="*/ 17856 h 19522"/>
              <a:gd name="connsiteX3" fmla="*/ 20057 w 20372"/>
              <a:gd name="connsiteY3" fmla="*/ 13229 h 19522"/>
              <a:gd name="connsiteX4" fmla="*/ 19578 w 20372"/>
              <a:gd name="connsiteY4" fmla="*/ 0 h 19522"/>
              <a:gd name="connsiteX5" fmla="*/ 425 w 20372"/>
              <a:gd name="connsiteY5" fmla="*/ 0 h 19522"/>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82 w 20029"/>
              <a:gd name="connsiteY0" fmla="*/ 0 h 19340"/>
              <a:gd name="connsiteX1" fmla="*/ 1 w 20029"/>
              <a:gd name="connsiteY1" fmla="*/ 13836 h 19340"/>
              <a:gd name="connsiteX2" fmla="*/ 11913 w 20029"/>
              <a:gd name="connsiteY2" fmla="*/ 17856 h 19340"/>
              <a:gd name="connsiteX3" fmla="*/ 19714 w 20029"/>
              <a:gd name="connsiteY3" fmla="*/ 13229 h 19340"/>
              <a:gd name="connsiteX4" fmla="*/ 19235 w 20029"/>
              <a:gd name="connsiteY4" fmla="*/ 0 h 19340"/>
              <a:gd name="connsiteX5" fmla="*/ 82 w 20029"/>
              <a:gd name="connsiteY5" fmla="*/ 0 h 19340"/>
              <a:gd name="connsiteX0" fmla="*/ 266 w 20213"/>
              <a:gd name="connsiteY0" fmla="*/ 0 h 18865"/>
              <a:gd name="connsiteX1" fmla="*/ 0 w 20213"/>
              <a:gd name="connsiteY1" fmla="*/ 13438 h 18865"/>
              <a:gd name="connsiteX2" fmla="*/ 12097 w 20213"/>
              <a:gd name="connsiteY2" fmla="*/ 17856 h 18865"/>
              <a:gd name="connsiteX3" fmla="*/ 19898 w 20213"/>
              <a:gd name="connsiteY3" fmla="*/ 13229 h 18865"/>
              <a:gd name="connsiteX4" fmla="*/ 19419 w 20213"/>
              <a:gd name="connsiteY4" fmla="*/ 0 h 18865"/>
              <a:gd name="connsiteX5" fmla="*/ 266 w 20213"/>
              <a:gd name="connsiteY5" fmla="*/ 0 h 18865"/>
              <a:gd name="connsiteX0" fmla="*/ 266 w 20213"/>
              <a:gd name="connsiteY0" fmla="*/ 0 h 19301"/>
              <a:gd name="connsiteX1" fmla="*/ 0 w 20213"/>
              <a:gd name="connsiteY1" fmla="*/ 13438 h 19301"/>
              <a:gd name="connsiteX2" fmla="*/ 12097 w 20213"/>
              <a:gd name="connsiteY2" fmla="*/ 17856 h 19301"/>
              <a:gd name="connsiteX3" fmla="*/ 19898 w 20213"/>
              <a:gd name="connsiteY3" fmla="*/ 13229 h 19301"/>
              <a:gd name="connsiteX4" fmla="*/ 19419 w 20213"/>
              <a:gd name="connsiteY4" fmla="*/ 0 h 19301"/>
              <a:gd name="connsiteX5" fmla="*/ 266 w 20213"/>
              <a:gd name="connsiteY5" fmla="*/ 0 h 19301"/>
              <a:gd name="connsiteX0" fmla="*/ 266 w 20213"/>
              <a:gd name="connsiteY0" fmla="*/ 0 h 19560"/>
              <a:gd name="connsiteX1" fmla="*/ 0 w 20213"/>
              <a:gd name="connsiteY1" fmla="*/ 13438 h 19560"/>
              <a:gd name="connsiteX2" fmla="*/ 12097 w 20213"/>
              <a:gd name="connsiteY2" fmla="*/ 17856 h 19560"/>
              <a:gd name="connsiteX3" fmla="*/ 19898 w 20213"/>
              <a:gd name="connsiteY3" fmla="*/ 13229 h 19560"/>
              <a:gd name="connsiteX4" fmla="*/ 19419 w 20213"/>
              <a:gd name="connsiteY4" fmla="*/ 0 h 19560"/>
              <a:gd name="connsiteX5" fmla="*/ 266 w 20213"/>
              <a:gd name="connsiteY5" fmla="*/ 0 h 19560"/>
              <a:gd name="connsiteX0" fmla="*/ 266 w 20163"/>
              <a:gd name="connsiteY0" fmla="*/ 0 h 19560"/>
              <a:gd name="connsiteX1" fmla="*/ 0 w 20163"/>
              <a:gd name="connsiteY1" fmla="*/ 13438 h 19560"/>
              <a:gd name="connsiteX2" fmla="*/ 12097 w 20163"/>
              <a:gd name="connsiteY2" fmla="*/ 17856 h 19560"/>
              <a:gd name="connsiteX3" fmla="*/ 19898 w 20163"/>
              <a:gd name="connsiteY3" fmla="*/ 13229 h 19560"/>
              <a:gd name="connsiteX4" fmla="*/ 19419 w 20163"/>
              <a:gd name="connsiteY4" fmla="*/ 0 h 19560"/>
              <a:gd name="connsiteX5" fmla="*/ 266 w 20163"/>
              <a:gd name="connsiteY5" fmla="*/ 0 h 1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3" h="19560" extrusionOk="0">
                <a:moveTo>
                  <a:pt x="266" y="0"/>
                </a:moveTo>
                <a:cubicBezTo>
                  <a:pt x="1111" y="4384"/>
                  <a:pt x="112" y="8738"/>
                  <a:pt x="0" y="13438"/>
                </a:cubicBezTo>
                <a:cubicBezTo>
                  <a:pt x="166" y="23132"/>
                  <a:pt x="7809" y="18598"/>
                  <a:pt x="12097" y="17856"/>
                </a:cubicBezTo>
                <a:cubicBezTo>
                  <a:pt x="16385" y="17114"/>
                  <a:pt x="18771" y="17222"/>
                  <a:pt x="19898" y="13229"/>
                </a:cubicBezTo>
                <a:cubicBezTo>
                  <a:pt x="21025" y="9236"/>
                  <a:pt x="18118" y="2604"/>
                  <a:pt x="19419" y="0"/>
                </a:cubicBezTo>
                <a:lnTo>
                  <a:pt x="266" y="0"/>
                </a:lnTo>
                <a:close/>
              </a:path>
            </a:pathLst>
          </a:custGeom>
          <a:solidFill>
            <a:schemeClr val="bg2"/>
          </a:solidFill>
          <a:ln>
            <a:noFill/>
          </a:ln>
          <a:effectLst>
            <a:outerShdw blurRad="127000" dist="38100" algn="l" rotWithShape="0">
              <a:schemeClr val="tx2">
                <a:lumMod val="75000"/>
                <a:alpha val="50000"/>
              </a:schemeClr>
            </a:outerShdw>
          </a:effectLst>
        </p:spPr>
        <p:txBody>
          <a:bodyPr lIns="25400" tIns="25400" rIns="25400" bIns="25400" anchor="ctr"/>
          <a:lstStyle/>
          <a:p>
            <a:endParaRPr lang="en-US" sz="900" dirty="0"/>
          </a:p>
        </p:txBody>
      </p:sp>
      <p:sp>
        <p:nvSpPr>
          <p:cNvPr id="8" name="Freeform: Shape 5">
            <a:extLst>
              <a:ext uri="{FF2B5EF4-FFF2-40B4-BE49-F238E27FC236}">
                <a16:creationId xmlns:a16="http://schemas.microsoft.com/office/drawing/2014/main" id="{715697B4-194C-024E-AE15-553BDA4A6584}"/>
              </a:ext>
            </a:extLst>
          </p:cNvPr>
          <p:cNvSpPr>
            <a:spLocks noGrp="1"/>
          </p:cNvSpPr>
          <p:nvPr>
            <p:ph type="pic" idx="13"/>
          </p:nvPr>
        </p:nvSpPr>
        <p:spPr>
          <a:xfrm>
            <a:off x="1587" y="315107"/>
            <a:ext cx="6463769" cy="6227786"/>
          </a:xfrm>
          <a:custGeom>
            <a:avLst/>
            <a:gdLst>
              <a:gd name="connsiteX0" fmla="*/ 7733741 w 13247144"/>
              <a:gd name="connsiteY0" fmla="*/ 0 h 12763509"/>
              <a:gd name="connsiteX1" fmla="*/ 7739719 w 13247144"/>
              <a:gd name="connsiteY1" fmla="*/ 0 h 12763509"/>
              <a:gd name="connsiteX2" fmla="*/ 7973038 w 13247144"/>
              <a:gd name="connsiteY2" fmla="*/ 4297 h 12763509"/>
              <a:gd name="connsiteX3" fmla="*/ 11030146 w 13247144"/>
              <a:gd name="connsiteY3" fmla="*/ 1383044 h 12763509"/>
              <a:gd name="connsiteX4" fmla="*/ 12265885 w 13247144"/>
              <a:gd name="connsiteY4" fmla="*/ 5160659 h 12763509"/>
              <a:gd name="connsiteX5" fmla="*/ 13243749 w 13247144"/>
              <a:gd name="connsiteY5" fmla="*/ 9269474 h 12763509"/>
              <a:gd name="connsiteX6" fmla="*/ 13247144 w 13247144"/>
              <a:gd name="connsiteY6" fmla="*/ 9462591 h 12763509"/>
              <a:gd name="connsiteX7" fmla="*/ 13247144 w 13247144"/>
              <a:gd name="connsiteY7" fmla="*/ 9470522 h 12763509"/>
              <a:gd name="connsiteX8" fmla="*/ 13241793 w 13247144"/>
              <a:gd name="connsiteY8" fmla="*/ 9663788 h 12763509"/>
              <a:gd name="connsiteX9" fmla="*/ 12559244 w 13247144"/>
              <a:gd name="connsiteY9" fmla="*/ 11510705 h 12763509"/>
              <a:gd name="connsiteX10" fmla="*/ 6735561 w 13247144"/>
              <a:gd name="connsiteY10" fmla="*/ 12526395 h 12763509"/>
              <a:gd name="connsiteX11" fmla="*/ 0 w 13247144"/>
              <a:gd name="connsiteY11" fmla="*/ 12603775 h 12763509"/>
              <a:gd name="connsiteX12" fmla="*/ 0 w 13247144"/>
              <a:gd name="connsiteY12" fmla="*/ 771315 h 12763509"/>
              <a:gd name="connsiteX13" fmla="*/ 3138026 w 13247144"/>
              <a:gd name="connsiteY13" fmla="*/ 646410 h 12763509"/>
              <a:gd name="connsiteX14" fmla="*/ 7466095 w 13247144"/>
              <a:gd name="connsiteY14" fmla="*/ 4104 h 127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47144" h="12763509">
                <a:moveTo>
                  <a:pt x="7733741" y="0"/>
                </a:moveTo>
                <a:lnTo>
                  <a:pt x="7739719" y="0"/>
                </a:lnTo>
                <a:lnTo>
                  <a:pt x="7973038" y="4297"/>
                </a:lnTo>
                <a:cubicBezTo>
                  <a:pt x="9145520" y="45980"/>
                  <a:pt x="10200207" y="394277"/>
                  <a:pt x="11030146" y="1383044"/>
                </a:cubicBezTo>
                <a:cubicBezTo>
                  <a:pt x="11912817" y="2434683"/>
                  <a:pt x="11956301" y="3854335"/>
                  <a:pt x="12265885" y="5160659"/>
                </a:cubicBezTo>
                <a:cubicBezTo>
                  <a:pt x="12587963" y="6519761"/>
                  <a:pt x="13192214" y="7944554"/>
                  <a:pt x="13243749" y="9269474"/>
                </a:cubicBezTo>
                <a:lnTo>
                  <a:pt x="13247144" y="9462591"/>
                </a:lnTo>
                <a:lnTo>
                  <a:pt x="13247144" y="9470522"/>
                </a:lnTo>
                <a:lnTo>
                  <a:pt x="13241793" y="9663788"/>
                </a:lnTo>
                <a:cubicBezTo>
                  <a:pt x="13208115" y="10315432"/>
                  <a:pt x="13015385" y="10937970"/>
                  <a:pt x="12559244" y="11510705"/>
                </a:cubicBezTo>
                <a:cubicBezTo>
                  <a:pt x="11246919" y="13157622"/>
                  <a:pt x="8870846" y="12804842"/>
                  <a:pt x="6735561" y="12526395"/>
                </a:cubicBezTo>
                <a:cubicBezTo>
                  <a:pt x="4497730" y="12233935"/>
                  <a:pt x="2230043" y="12260134"/>
                  <a:pt x="0" y="12603775"/>
                </a:cubicBezTo>
                <a:lnTo>
                  <a:pt x="0" y="771315"/>
                </a:lnTo>
                <a:cubicBezTo>
                  <a:pt x="1057259" y="814574"/>
                  <a:pt x="2109974" y="802388"/>
                  <a:pt x="3138026" y="646410"/>
                </a:cubicBezTo>
                <a:cubicBezTo>
                  <a:pt x="4607455" y="424208"/>
                  <a:pt x="6102553" y="47780"/>
                  <a:pt x="7466095" y="4104"/>
                </a:cubicBezTo>
                <a:close/>
              </a:path>
            </a:pathLst>
          </a:custGeom>
          <a:solidFill>
            <a:schemeClr val="tx2"/>
          </a:solid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sp>
        <p:nvSpPr>
          <p:cNvPr id="6" name="Title 1">
            <a:extLst>
              <a:ext uri="{FF2B5EF4-FFF2-40B4-BE49-F238E27FC236}">
                <a16:creationId xmlns:a16="http://schemas.microsoft.com/office/drawing/2014/main" id="{62591A4B-DA9E-ED40-9A95-C47C46F832FF}"/>
              </a:ext>
            </a:extLst>
          </p:cNvPr>
          <p:cNvSpPr>
            <a:spLocks noGrp="1"/>
          </p:cNvSpPr>
          <p:nvPr>
            <p:ph type="title" hasCustomPrompt="1"/>
          </p:nvPr>
        </p:nvSpPr>
        <p:spPr>
          <a:xfrm>
            <a:off x="6896803" y="1832562"/>
            <a:ext cx="5003002" cy="1325563"/>
          </a:xfrm>
          <a:prstGeom prst="rect">
            <a:avLst/>
          </a:prstGeom>
        </p:spPr>
        <p:txBody>
          <a:bodyPr anchor="b"/>
          <a:lstStyle>
            <a:lvl1pPr>
              <a:defRPr>
                <a:solidFill>
                  <a:schemeClr val="accent4"/>
                </a:solidFill>
              </a:defRPr>
            </a:lvl1pPr>
          </a:lstStyle>
          <a:p>
            <a:r>
              <a:rPr lang="en-US"/>
              <a:t>Headline</a:t>
            </a:r>
          </a:p>
        </p:txBody>
      </p:sp>
      <p:sp>
        <p:nvSpPr>
          <p:cNvPr id="5" name="Text Placeholder 32">
            <a:extLst>
              <a:ext uri="{FF2B5EF4-FFF2-40B4-BE49-F238E27FC236}">
                <a16:creationId xmlns:a16="http://schemas.microsoft.com/office/drawing/2014/main" id="{5640436D-6AA8-7A4D-B6D2-E192BA09437B}"/>
              </a:ext>
            </a:extLst>
          </p:cNvPr>
          <p:cNvSpPr>
            <a:spLocks noGrp="1"/>
          </p:cNvSpPr>
          <p:nvPr>
            <p:ph type="body" sz="quarter" idx="15" hasCustomPrompt="1"/>
          </p:nvPr>
        </p:nvSpPr>
        <p:spPr>
          <a:xfrm>
            <a:off x="6922929" y="3158125"/>
            <a:ext cx="5003002" cy="2828072"/>
          </a:xfrm>
        </p:spPr>
        <p:txBody>
          <a:bodyPr anchor="t">
            <a:normAutofit/>
          </a:bodyPr>
          <a:lstStyle>
            <a:lvl1pPr>
              <a:lnSpc>
                <a:spcPct val="10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7" name="Slide Number Placeholder 8">
            <a:extLst>
              <a:ext uri="{FF2B5EF4-FFF2-40B4-BE49-F238E27FC236}">
                <a16:creationId xmlns:a16="http://schemas.microsoft.com/office/drawing/2014/main" id="{C741F94A-BBA9-DF40-800E-BA3DAA48242D}"/>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1733564"/>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Image + Headline &amp; Copy">
    <p:bg>
      <p:bgPr>
        <a:solidFill>
          <a:schemeClr val="bg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A84838C-C457-474C-9EBB-6902B78CE5B4}"/>
              </a:ext>
            </a:extLst>
          </p:cNvPr>
          <p:cNvSpPr>
            <a:spLocks noGrp="1"/>
          </p:cNvSpPr>
          <p:nvPr>
            <p:ph type="pic" idx="13"/>
          </p:nvPr>
        </p:nvSpPr>
        <p:spPr>
          <a:xfrm>
            <a:off x="-3573" y="-4100"/>
            <a:ext cx="12195573" cy="3821305"/>
          </a:xfrm>
          <a:custGeom>
            <a:avLst/>
            <a:gdLst>
              <a:gd name="connsiteX0" fmla="*/ 2259 w 24391144"/>
              <a:gd name="connsiteY0" fmla="*/ 0 h 7209878"/>
              <a:gd name="connsiteX1" fmla="*/ 24391144 w 24391144"/>
              <a:gd name="connsiteY1" fmla="*/ 0 h 7209878"/>
              <a:gd name="connsiteX2" fmla="*/ 24391144 w 24391144"/>
              <a:gd name="connsiteY2" fmla="*/ 2684864 h 7209878"/>
              <a:gd name="connsiteX3" fmla="*/ 18904266 w 24391144"/>
              <a:gd name="connsiteY3" fmla="*/ 4243564 h 7209878"/>
              <a:gd name="connsiteX4" fmla="*/ 9707901 w 24391144"/>
              <a:gd name="connsiteY4" fmla="*/ 4255351 h 7209878"/>
              <a:gd name="connsiteX5" fmla="*/ 6453491 w 24391144"/>
              <a:gd name="connsiteY5" fmla="*/ 6563041 h 7209878"/>
              <a:gd name="connsiteX6" fmla="*/ 0 w 24391144"/>
              <a:gd name="connsiteY6" fmla="*/ 5589032 h 7209878"/>
              <a:gd name="connsiteX0" fmla="*/ 2259 w 24391144"/>
              <a:gd name="connsiteY0" fmla="*/ 0 h 7209878"/>
              <a:gd name="connsiteX1" fmla="*/ 24391144 w 24391144"/>
              <a:gd name="connsiteY1" fmla="*/ 0 h 7209878"/>
              <a:gd name="connsiteX2" fmla="*/ 24391144 w 24391144"/>
              <a:gd name="connsiteY2" fmla="*/ 2684864 h 7209878"/>
              <a:gd name="connsiteX3" fmla="*/ 18904266 w 24391144"/>
              <a:gd name="connsiteY3" fmla="*/ 4243564 h 7209878"/>
              <a:gd name="connsiteX4" fmla="*/ 6453491 w 24391144"/>
              <a:gd name="connsiteY4" fmla="*/ 6563041 h 7209878"/>
              <a:gd name="connsiteX5" fmla="*/ 0 w 24391144"/>
              <a:gd name="connsiteY5" fmla="*/ 5589032 h 7209878"/>
              <a:gd name="connsiteX6" fmla="*/ 2259 w 24391144"/>
              <a:gd name="connsiteY6" fmla="*/ 0 h 7209878"/>
              <a:gd name="connsiteX0" fmla="*/ 2259 w 24391144"/>
              <a:gd name="connsiteY0" fmla="*/ 0 h 7209878"/>
              <a:gd name="connsiteX1" fmla="*/ 24391144 w 24391144"/>
              <a:gd name="connsiteY1" fmla="*/ 0 h 7209878"/>
              <a:gd name="connsiteX2" fmla="*/ 24391144 w 24391144"/>
              <a:gd name="connsiteY2" fmla="*/ 2684864 h 7209878"/>
              <a:gd name="connsiteX3" fmla="*/ 6453491 w 24391144"/>
              <a:gd name="connsiteY3" fmla="*/ 6563041 h 7209878"/>
              <a:gd name="connsiteX4" fmla="*/ 0 w 24391144"/>
              <a:gd name="connsiteY4" fmla="*/ 5589032 h 7209878"/>
              <a:gd name="connsiteX5" fmla="*/ 2259 w 24391144"/>
              <a:gd name="connsiteY5" fmla="*/ 0 h 7209878"/>
              <a:gd name="connsiteX0" fmla="*/ 2259 w 24391144"/>
              <a:gd name="connsiteY0" fmla="*/ 0 h 5643680"/>
              <a:gd name="connsiteX1" fmla="*/ 24391144 w 24391144"/>
              <a:gd name="connsiteY1" fmla="*/ 0 h 5643680"/>
              <a:gd name="connsiteX2" fmla="*/ 24391144 w 24391144"/>
              <a:gd name="connsiteY2" fmla="*/ 2684864 h 5643680"/>
              <a:gd name="connsiteX3" fmla="*/ 0 w 24391144"/>
              <a:gd name="connsiteY3" fmla="*/ 5589032 h 5643680"/>
              <a:gd name="connsiteX4" fmla="*/ 2259 w 24391144"/>
              <a:gd name="connsiteY4" fmla="*/ 0 h 5643680"/>
              <a:gd name="connsiteX0" fmla="*/ 2259 w 24391144"/>
              <a:gd name="connsiteY0" fmla="*/ 0 h 7709870"/>
              <a:gd name="connsiteX1" fmla="*/ 24391144 w 24391144"/>
              <a:gd name="connsiteY1" fmla="*/ 0 h 7709870"/>
              <a:gd name="connsiteX2" fmla="*/ 24391144 w 24391144"/>
              <a:gd name="connsiteY2" fmla="*/ 2684864 h 7709870"/>
              <a:gd name="connsiteX3" fmla="*/ 0 w 24391144"/>
              <a:gd name="connsiteY3" fmla="*/ 5589032 h 7709870"/>
              <a:gd name="connsiteX4" fmla="*/ 2259 w 24391144"/>
              <a:gd name="connsiteY4" fmla="*/ 0 h 7709870"/>
              <a:gd name="connsiteX0" fmla="*/ 2259 w 24391144"/>
              <a:gd name="connsiteY0" fmla="*/ 0 h 7530267"/>
              <a:gd name="connsiteX1" fmla="*/ 24391144 w 24391144"/>
              <a:gd name="connsiteY1" fmla="*/ 0 h 7530267"/>
              <a:gd name="connsiteX2" fmla="*/ 24391144 w 24391144"/>
              <a:gd name="connsiteY2" fmla="*/ 2684864 h 7530267"/>
              <a:gd name="connsiteX3" fmla="*/ 0 w 24391144"/>
              <a:gd name="connsiteY3" fmla="*/ 5589032 h 7530267"/>
              <a:gd name="connsiteX4" fmla="*/ 2259 w 24391144"/>
              <a:gd name="connsiteY4" fmla="*/ 0 h 7530267"/>
              <a:gd name="connsiteX0" fmla="*/ 2259 w 24391144"/>
              <a:gd name="connsiteY0" fmla="*/ 0 h 8272220"/>
              <a:gd name="connsiteX1" fmla="*/ 24391144 w 24391144"/>
              <a:gd name="connsiteY1" fmla="*/ 0 h 8272220"/>
              <a:gd name="connsiteX2" fmla="*/ 24391144 w 24391144"/>
              <a:gd name="connsiteY2" fmla="*/ 2684864 h 8272220"/>
              <a:gd name="connsiteX3" fmla="*/ 0 w 24391144"/>
              <a:gd name="connsiteY3" fmla="*/ 5589032 h 8272220"/>
              <a:gd name="connsiteX4" fmla="*/ 2259 w 24391144"/>
              <a:gd name="connsiteY4" fmla="*/ 0 h 8272220"/>
              <a:gd name="connsiteX0" fmla="*/ 2259 w 24391144"/>
              <a:gd name="connsiteY0" fmla="*/ 0 h 8525835"/>
              <a:gd name="connsiteX1" fmla="*/ 24391144 w 24391144"/>
              <a:gd name="connsiteY1" fmla="*/ 0 h 8525835"/>
              <a:gd name="connsiteX2" fmla="*/ 24391144 w 24391144"/>
              <a:gd name="connsiteY2" fmla="*/ 2684864 h 8525835"/>
              <a:gd name="connsiteX3" fmla="*/ 0 w 24391144"/>
              <a:gd name="connsiteY3" fmla="*/ 5589032 h 8525835"/>
              <a:gd name="connsiteX4" fmla="*/ 2259 w 24391144"/>
              <a:gd name="connsiteY4" fmla="*/ 0 h 8525835"/>
              <a:gd name="connsiteX0" fmla="*/ 2259 w 24391144"/>
              <a:gd name="connsiteY0" fmla="*/ 0 h 8610636"/>
              <a:gd name="connsiteX1" fmla="*/ 24391144 w 24391144"/>
              <a:gd name="connsiteY1" fmla="*/ 0 h 8610636"/>
              <a:gd name="connsiteX2" fmla="*/ 24391144 w 24391144"/>
              <a:gd name="connsiteY2" fmla="*/ 2684864 h 8610636"/>
              <a:gd name="connsiteX3" fmla="*/ 0 w 24391144"/>
              <a:gd name="connsiteY3" fmla="*/ 5589032 h 8610636"/>
              <a:gd name="connsiteX4" fmla="*/ 2259 w 24391144"/>
              <a:gd name="connsiteY4" fmla="*/ 0 h 8610636"/>
              <a:gd name="connsiteX0" fmla="*/ 2259 w 24391144"/>
              <a:gd name="connsiteY0" fmla="*/ 0 h 8034004"/>
              <a:gd name="connsiteX1" fmla="*/ 24391144 w 24391144"/>
              <a:gd name="connsiteY1" fmla="*/ 0 h 8034004"/>
              <a:gd name="connsiteX2" fmla="*/ 24391144 w 24391144"/>
              <a:gd name="connsiteY2" fmla="*/ 2684864 h 8034004"/>
              <a:gd name="connsiteX3" fmla="*/ 0 w 24391144"/>
              <a:gd name="connsiteY3" fmla="*/ 5589032 h 8034004"/>
              <a:gd name="connsiteX4" fmla="*/ 2259 w 24391144"/>
              <a:gd name="connsiteY4" fmla="*/ 0 h 8034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91144" h="8034004">
                <a:moveTo>
                  <a:pt x="2259" y="0"/>
                </a:moveTo>
                <a:lnTo>
                  <a:pt x="24391144" y="0"/>
                </a:lnTo>
                <a:lnTo>
                  <a:pt x="24391144" y="2684864"/>
                </a:lnTo>
                <a:cubicBezTo>
                  <a:pt x="11760687" y="2920499"/>
                  <a:pt x="10153097" y="12369661"/>
                  <a:pt x="0" y="5589032"/>
                </a:cubicBezTo>
                <a:lnTo>
                  <a:pt x="2259" y="0"/>
                </a:lnTo>
                <a:close/>
              </a:path>
            </a:pathLst>
          </a:custGeom>
          <a:solidFill>
            <a:schemeClr val="tx2"/>
          </a:solidFill>
          <a:effectLst>
            <a:outerShdw blurRad="127000" dist="38100" dir="5400000" algn="t" rotWithShape="0">
              <a:schemeClr val="tx2">
                <a:lumMod val="75000"/>
                <a:alpha val="50000"/>
              </a:schemeClr>
            </a:outerShdw>
          </a:effectLst>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sp>
        <p:nvSpPr>
          <p:cNvPr id="6" name="Title 1">
            <a:extLst>
              <a:ext uri="{FF2B5EF4-FFF2-40B4-BE49-F238E27FC236}">
                <a16:creationId xmlns:a16="http://schemas.microsoft.com/office/drawing/2014/main" id="{62591A4B-DA9E-ED40-9A95-C47C46F832FF}"/>
              </a:ext>
            </a:extLst>
          </p:cNvPr>
          <p:cNvSpPr>
            <a:spLocks noGrp="1"/>
          </p:cNvSpPr>
          <p:nvPr>
            <p:ph type="title" hasCustomPrompt="1"/>
          </p:nvPr>
        </p:nvSpPr>
        <p:spPr>
          <a:xfrm>
            <a:off x="6539498" y="3019031"/>
            <a:ext cx="5003002" cy="1325563"/>
          </a:xfrm>
          <a:prstGeom prst="rect">
            <a:avLst/>
          </a:prstGeom>
        </p:spPr>
        <p:txBody>
          <a:bodyPr anchor="b"/>
          <a:lstStyle>
            <a:lvl1pPr algn="r">
              <a:defRPr>
                <a:solidFill>
                  <a:schemeClr val="accent4"/>
                </a:solidFill>
              </a:defRPr>
            </a:lvl1pPr>
          </a:lstStyle>
          <a:p>
            <a:r>
              <a:rPr lang="en-US"/>
              <a:t>HEADLINE</a:t>
            </a:r>
          </a:p>
        </p:txBody>
      </p:sp>
      <p:sp>
        <p:nvSpPr>
          <p:cNvPr id="7" name="Text Placeholder 32">
            <a:extLst>
              <a:ext uri="{FF2B5EF4-FFF2-40B4-BE49-F238E27FC236}">
                <a16:creationId xmlns:a16="http://schemas.microsoft.com/office/drawing/2014/main" id="{BD097376-6F26-AF41-B3F4-846322FD7529}"/>
              </a:ext>
            </a:extLst>
          </p:cNvPr>
          <p:cNvSpPr>
            <a:spLocks noGrp="1"/>
          </p:cNvSpPr>
          <p:nvPr>
            <p:ph type="body" sz="quarter" idx="15" hasCustomPrompt="1"/>
          </p:nvPr>
        </p:nvSpPr>
        <p:spPr>
          <a:xfrm>
            <a:off x="694816" y="4344594"/>
            <a:ext cx="10847683" cy="1990892"/>
          </a:xfrm>
        </p:spPr>
        <p:txBody>
          <a:bodyPr anchor="t">
            <a:normAutofit/>
          </a:bodyPr>
          <a:lstStyle>
            <a:lvl1pPr>
              <a:lnSpc>
                <a:spcPct val="150000"/>
              </a:lnSpc>
              <a:spcBef>
                <a:spcPts val="0"/>
              </a:spcBef>
              <a:spcAft>
                <a:spcPts val="600"/>
              </a:spcAft>
              <a:defRPr sz="20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8" name="Slide Number Placeholder 8">
            <a:extLst>
              <a:ext uri="{FF2B5EF4-FFF2-40B4-BE49-F238E27FC236}">
                <a16:creationId xmlns:a16="http://schemas.microsoft.com/office/drawing/2014/main" id="{06182133-DBD9-1D45-AF38-D6B146D10095}"/>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67057552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Image + Headline &amp; Copy">
    <p:bg>
      <p:bgPr>
        <a:solidFill>
          <a:schemeClr val="bg2"/>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ED9BA7A1-525B-B74D-9C12-044BB72ACDDC}"/>
              </a:ext>
            </a:extLst>
          </p:cNvPr>
          <p:cNvSpPr>
            <a:spLocks/>
          </p:cNvSpPr>
          <p:nvPr/>
        </p:nvSpPr>
        <p:spPr bwMode="auto">
          <a:xfrm>
            <a:off x="5740400" y="-794"/>
            <a:ext cx="6023769" cy="6859588"/>
          </a:xfrm>
          <a:custGeom>
            <a:avLst/>
            <a:gdLst>
              <a:gd name="T0" fmla="*/ 6023968 w 21600"/>
              <a:gd name="T1" fmla="*/ 6859588 h 21600"/>
              <a:gd name="T2" fmla="*/ 6023968 w 21600"/>
              <a:gd name="T3" fmla="*/ 6859588 h 21600"/>
              <a:gd name="T4" fmla="*/ 6023968 w 21600"/>
              <a:gd name="T5" fmla="*/ 6859588 h 21600"/>
              <a:gd name="T6" fmla="*/ 6023968 w 21600"/>
              <a:gd name="T7" fmla="*/ 6859588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7573" y="0"/>
                </a:moveTo>
                <a:cubicBezTo>
                  <a:pt x="6055" y="591"/>
                  <a:pt x="4882" y="1781"/>
                  <a:pt x="4449" y="3304"/>
                </a:cubicBezTo>
                <a:cubicBezTo>
                  <a:pt x="3394" y="7016"/>
                  <a:pt x="7349" y="10114"/>
                  <a:pt x="7760" y="13809"/>
                </a:cubicBezTo>
                <a:cubicBezTo>
                  <a:pt x="8213" y="17889"/>
                  <a:pt x="4651" y="21452"/>
                  <a:pt x="0" y="21600"/>
                </a:cubicBezTo>
                <a:lnTo>
                  <a:pt x="21600" y="21595"/>
                </a:lnTo>
                <a:lnTo>
                  <a:pt x="21600" y="0"/>
                </a:lnTo>
                <a:lnTo>
                  <a:pt x="7573" y="0"/>
                </a:lnTo>
                <a:close/>
              </a:path>
            </a:pathLst>
          </a:custGeom>
          <a:solidFill>
            <a:schemeClr val="bg2"/>
          </a:solidFill>
          <a:ln>
            <a:noFill/>
          </a:ln>
          <a:effectLst>
            <a:outerShdw blurRad="190500" dist="38100" dir="10800000" algn="r" rotWithShape="0">
              <a:schemeClr val="tx2">
                <a:lumMod val="75000"/>
                <a:alpha val="25000"/>
              </a:schemeClr>
            </a:outerShdw>
          </a:effectLst>
        </p:spPr>
        <p:txBody>
          <a:bodyPr lIns="25400" tIns="25400" rIns="25400" bIns="25400" anchor="ctr"/>
          <a:lstStyle/>
          <a:p>
            <a:endParaRPr lang="en-US" sz="900" dirty="0"/>
          </a:p>
        </p:txBody>
      </p:sp>
      <p:sp>
        <p:nvSpPr>
          <p:cNvPr id="7" name="Picture Placeholder 6">
            <a:extLst>
              <a:ext uri="{FF2B5EF4-FFF2-40B4-BE49-F238E27FC236}">
                <a16:creationId xmlns:a16="http://schemas.microsoft.com/office/drawing/2014/main" id="{E5EFD73E-11CD-48E5-9FBC-34507EB80A5E}"/>
              </a:ext>
            </a:extLst>
          </p:cNvPr>
          <p:cNvSpPr>
            <a:spLocks noGrp="1"/>
          </p:cNvSpPr>
          <p:nvPr>
            <p:ph type="pic" idx="13"/>
          </p:nvPr>
        </p:nvSpPr>
        <p:spPr>
          <a:xfrm>
            <a:off x="6176566" y="-794"/>
            <a:ext cx="6021785" cy="6859588"/>
          </a:xfrm>
          <a:custGeom>
            <a:avLst/>
            <a:gdLst>
              <a:gd name="connsiteX0" fmla="*/ 5278223 w 12043569"/>
              <a:gd name="connsiteY0" fmla="*/ 0 h 13719176"/>
              <a:gd name="connsiteX1" fmla="*/ 12043569 w 12043569"/>
              <a:gd name="connsiteY1" fmla="*/ 0 h 13719176"/>
              <a:gd name="connsiteX2" fmla="*/ 12043569 w 12043569"/>
              <a:gd name="connsiteY2" fmla="*/ 13716001 h 13719176"/>
              <a:gd name="connsiteX3" fmla="*/ 0 w 12043569"/>
              <a:gd name="connsiteY3" fmla="*/ 13719176 h 13719176"/>
              <a:gd name="connsiteX4" fmla="*/ 4328332 w 12043569"/>
              <a:gd name="connsiteY4" fmla="*/ 8770745 h 13719176"/>
              <a:gd name="connsiteX5" fmla="*/ 3535734 w 12043569"/>
              <a:gd name="connsiteY5" fmla="*/ 2098526 h 13719176"/>
              <a:gd name="connsiteX6" fmla="*/ 5278223 w 12043569"/>
              <a:gd name="connsiteY6" fmla="*/ 0 h 1371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3569" h="13719176">
                <a:moveTo>
                  <a:pt x="5278223" y="0"/>
                </a:moveTo>
                <a:lnTo>
                  <a:pt x="12043569" y="0"/>
                </a:lnTo>
                <a:lnTo>
                  <a:pt x="12043569" y="13716001"/>
                </a:lnTo>
                <a:lnTo>
                  <a:pt x="0" y="13719176"/>
                </a:lnTo>
                <a:cubicBezTo>
                  <a:pt x="2445842" y="13335547"/>
                  <a:pt x="4273671" y="11254805"/>
                  <a:pt x="4328332" y="8770745"/>
                </a:cubicBezTo>
                <a:cubicBezTo>
                  <a:pt x="4378532" y="6493744"/>
                  <a:pt x="2819551" y="4305027"/>
                  <a:pt x="3535734" y="2098526"/>
                </a:cubicBezTo>
                <a:cubicBezTo>
                  <a:pt x="3840279" y="1161049"/>
                  <a:pt x="4473911" y="424278"/>
                  <a:pt x="5278223" y="0"/>
                </a:cubicBezTo>
                <a:close/>
              </a:path>
            </a:pathLst>
          </a:custGeom>
          <a:solidFill>
            <a:schemeClr val="tx2"/>
          </a:solidFill>
        </p:spPr>
        <p:txBody>
          <a:bodyPr lIns="91439" tIns="45719" rIns="91439" bIns="45719">
            <a:noAutofit/>
          </a:bodyPr>
          <a:lstStyle/>
          <a:p>
            <a:pPr lvl="0"/>
            <a:endParaRPr noProof="0" dirty="0">
              <a:sym typeface="Helvetica Neue Light"/>
            </a:endParaRPr>
          </a:p>
        </p:txBody>
      </p:sp>
      <p:sp>
        <p:nvSpPr>
          <p:cNvPr id="5" name="Text Placeholder 32">
            <a:extLst>
              <a:ext uri="{FF2B5EF4-FFF2-40B4-BE49-F238E27FC236}">
                <a16:creationId xmlns:a16="http://schemas.microsoft.com/office/drawing/2014/main" id="{00662CCE-8634-7849-8681-C745F218FD4A}"/>
              </a:ext>
            </a:extLst>
          </p:cNvPr>
          <p:cNvSpPr>
            <a:spLocks noGrp="1"/>
          </p:cNvSpPr>
          <p:nvPr>
            <p:ph type="body" sz="quarter" idx="12" hasCustomPrompt="1"/>
          </p:nvPr>
        </p:nvSpPr>
        <p:spPr>
          <a:xfrm>
            <a:off x="315000" y="544598"/>
            <a:ext cx="9438600" cy="702400"/>
          </a:xfrm>
        </p:spPr>
        <p:txBody>
          <a:bodyPr anchor="t">
            <a:normAutofit/>
          </a:bodyPr>
          <a:lstStyle>
            <a:lvl1pPr algn="l">
              <a:lnSpc>
                <a:spcPct val="100000"/>
              </a:lnSpc>
              <a:spcBef>
                <a:spcPts val="0"/>
              </a:spcBef>
              <a:spcAft>
                <a:spcPts val="600"/>
              </a:spcAft>
              <a:defRPr sz="4000" b="1" spc="300">
                <a:solidFill>
                  <a:schemeClr val="accent4"/>
                </a:solidFill>
              </a:defRPr>
            </a:lvl1pPr>
            <a:lvl2pPr>
              <a:defRPr sz="2000" b="1"/>
            </a:lvl2pPr>
            <a:lvl3pPr>
              <a:defRPr sz="2000" b="1"/>
            </a:lvl3pPr>
            <a:lvl4pPr>
              <a:defRPr sz="2000" b="1"/>
            </a:lvl4pPr>
            <a:lvl5pPr>
              <a:defRPr sz="2000" b="1"/>
            </a:lvl5pPr>
          </a:lstStyle>
          <a:p>
            <a:pPr lvl="0"/>
            <a:r>
              <a:rPr lang="en-US"/>
              <a:t>HEADLINE</a:t>
            </a:r>
          </a:p>
        </p:txBody>
      </p:sp>
      <p:sp>
        <p:nvSpPr>
          <p:cNvPr id="8" name="Text Placeholder 32">
            <a:extLst>
              <a:ext uri="{FF2B5EF4-FFF2-40B4-BE49-F238E27FC236}">
                <a16:creationId xmlns:a16="http://schemas.microsoft.com/office/drawing/2014/main" id="{E48AEAC4-5765-6E4D-B457-F18D6A7D25F3}"/>
              </a:ext>
            </a:extLst>
          </p:cNvPr>
          <p:cNvSpPr>
            <a:spLocks noGrp="1"/>
          </p:cNvSpPr>
          <p:nvPr>
            <p:ph type="body" sz="quarter" idx="14" hasCustomPrompt="1"/>
          </p:nvPr>
        </p:nvSpPr>
        <p:spPr>
          <a:xfrm>
            <a:off x="315000" y="1157731"/>
            <a:ext cx="5412931" cy="2889833"/>
          </a:xfrm>
        </p:spPr>
        <p:txBody>
          <a:bodyPr anchor="t">
            <a:normAutofit/>
          </a:bodyPr>
          <a:lstStyle>
            <a:lvl1pPr algn="l">
              <a:lnSpc>
                <a:spcPct val="150000"/>
              </a:lnSpc>
              <a:spcBef>
                <a:spcPts val="0"/>
              </a:spcBef>
              <a:spcAft>
                <a:spcPts val="600"/>
              </a:spcAft>
              <a:defRPr sz="1800" b="1" spc="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Tree>
    <p:extLst>
      <p:ext uri="{BB962C8B-B14F-4D97-AF65-F5344CB8AC3E}">
        <p14:creationId xmlns:p14="http://schemas.microsoft.com/office/powerpoint/2010/main" val="3672753535"/>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Next Steps">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9EA35411-23F7-C34C-ACEC-B377020323CC}"/>
              </a:ext>
            </a:extLst>
          </p:cNvPr>
          <p:cNvSpPr/>
          <p:nvPr/>
        </p:nvSpPr>
        <p:spPr>
          <a:xfrm>
            <a:off x="8443119" y="-3175"/>
            <a:ext cx="3760788" cy="6858794"/>
          </a:xfrm>
          <a:custGeom>
            <a:avLst/>
            <a:gdLst/>
            <a:ahLst/>
            <a:cxnLst>
              <a:cxn ang="0">
                <a:pos x="wd2" y="hd2"/>
              </a:cxn>
              <a:cxn ang="5400000">
                <a:pos x="wd2" y="hd2"/>
              </a:cxn>
              <a:cxn ang="10800000">
                <a:pos x="wd2" y="hd2"/>
              </a:cxn>
              <a:cxn ang="16200000">
                <a:pos x="wd2" y="hd2"/>
              </a:cxn>
            </a:cxnLst>
            <a:rect l="0" t="0" r="r" b="b"/>
            <a:pathLst>
              <a:path w="21600" h="21600" extrusionOk="0">
                <a:moveTo>
                  <a:pt x="21540" y="0"/>
                </a:moveTo>
                <a:lnTo>
                  <a:pt x="0" y="6"/>
                </a:lnTo>
                <a:cubicBezTo>
                  <a:pt x="5419" y="1951"/>
                  <a:pt x="9792" y="4647"/>
                  <a:pt x="12698" y="7821"/>
                </a:cubicBezTo>
                <a:cubicBezTo>
                  <a:pt x="16181" y="11626"/>
                  <a:pt x="16502" y="16287"/>
                  <a:pt x="10423" y="18328"/>
                </a:cubicBezTo>
                <a:cubicBezTo>
                  <a:pt x="7339" y="19363"/>
                  <a:pt x="3023" y="19264"/>
                  <a:pt x="916" y="20934"/>
                </a:cubicBezTo>
                <a:cubicBezTo>
                  <a:pt x="627" y="21163"/>
                  <a:pt x="402" y="21385"/>
                  <a:pt x="226" y="21600"/>
                </a:cubicBezTo>
                <a:lnTo>
                  <a:pt x="21600" y="21600"/>
                </a:lnTo>
                <a:cubicBezTo>
                  <a:pt x="21586" y="21586"/>
                  <a:pt x="21576" y="21572"/>
                  <a:pt x="21562" y="21558"/>
                </a:cubicBezTo>
                <a:lnTo>
                  <a:pt x="21540" y="0"/>
                </a:lnTo>
                <a:close/>
              </a:path>
            </a:pathLst>
          </a:custGeom>
          <a:solidFill>
            <a:schemeClr val="tx2"/>
          </a:solidFill>
          <a:ln w="12700">
            <a:miter lim="400000"/>
          </a:ln>
          <a:effectLst>
            <a:outerShdw blurRad="127000" dist="38100" dir="10800000" sx="99000" sy="99000" algn="r" rotWithShape="0">
              <a:schemeClr val="tx2">
                <a:lumMod val="75000"/>
                <a:alpha val="50000"/>
              </a:schemeClr>
            </a:outerShdw>
          </a:effectLst>
        </p:spPr>
        <p:txBody>
          <a:bodyPr lIns="25400" tIns="25400" rIns="25400" bIns="25400" anchor="ctr"/>
          <a:lstStyle/>
          <a:p>
            <a:pPr algn="ctr" eaLnBrk="1" fontAlgn="auto">
              <a:spcBef>
                <a:spcPts val="0"/>
              </a:spcBef>
              <a:spcAft>
                <a:spcPts val="0"/>
              </a:spcAft>
              <a:defRPr>
                <a:solidFill>
                  <a:srgbClr val="FFFFFF"/>
                </a:solidFill>
              </a:defRPr>
            </a:pPr>
            <a:endParaRPr sz="900" kern="0" dirty="0">
              <a:solidFill>
                <a:srgbClr val="FFFFFF"/>
              </a:solidFill>
              <a:latin typeface="+mn-lt"/>
              <a:ea typeface="+mn-ea"/>
              <a:cs typeface="+mn-cs"/>
              <a:sym typeface="Helvetica Neue Light"/>
            </a:endParaRPr>
          </a:p>
        </p:txBody>
      </p:sp>
      <p:sp>
        <p:nvSpPr>
          <p:cNvPr id="2" name="Shape">
            <a:extLst>
              <a:ext uri="{FF2B5EF4-FFF2-40B4-BE49-F238E27FC236}">
                <a16:creationId xmlns:a16="http://schemas.microsoft.com/office/drawing/2014/main" id="{2BCE3E7D-0F59-1A45-8876-26CF046F2F4F}"/>
              </a:ext>
            </a:extLst>
          </p:cNvPr>
          <p:cNvSpPr/>
          <p:nvPr/>
        </p:nvSpPr>
        <p:spPr>
          <a:xfrm>
            <a:off x="1650207" y="64294"/>
            <a:ext cx="8430419" cy="6573044"/>
          </a:xfrm>
          <a:custGeom>
            <a:avLst/>
            <a:gdLst/>
            <a:ahLst/>
            <a:cxnLst>
              <a:cxn ang="0">
                <a:pos x="wd2" y="hd2"/>
              </a:cxn>
              <a:cxn ang="5400000">
                <a:pos x="wd2" y="hd2"/>
              </a:cxn>
              <a:cxn ang="10800000">
                <a:pos x="wd2" y="hd2"/>
              </a:cxn>
              <a:cxn ang="16200000">
                <a:pos x="wd2" y="hd2"/>
              </a:cxn>
            </a:cxnLst>
            <a:rect l="0" t="0" r="r" b="b"/>
            <a:pathLst>
              <a:path w="20252" h="21180" extrusionOk="0">
                <a:moveTo>
                  <a:pt x="16658" y="4346"/>
                </a:moveTo>
                <a:cubicBezTo>
                  <a:pt x="18109" y="5939"/>
                  <a:pt x="19144" y="8067"/>
                  <a:pt x="19765" y="10023"/>
                </a:cubicBezTo>
                <a:cubicBezTo>
                  <a:pt x="20394" y="12005"/>
                  <a:pt x="20534" y="14008"/>
                  <a:pt x="19457" y="15658"/>
                </a:cubicBezTo>
                <a:cubicBezTo>
                  <a:pt x="18763" y="16721"/>
                  <a:pt x="17703" y="17121"/>
                  <a:pt x="16687" y="17508"/>
                </a:cubicBezTo>
                <a:cubicBezTo>
                  <a:pt x="13063" y="18889"/>
                  <a:pt x="9544" y="20642"/>
                  <a:pt x="5791" y="21104"/>
                </a:cubicBezTo>
                <a:cubicBezTo>
                  <a:pt x="4027" y="21322"/>
                  <a:pt x="2108" y="21151"/>
                  <a:pt x="957" y="19457"/>
                </a:cubicBezTo>
                <a:cubicBezTo>
                  <a:pt x="-1066" y="16478"/>
                  <a:pt x="641" y="12426"/>
                  <a:pt x="1327" y="8721"/>
                </a:cubicBezTo>
                <a:cubicBezTo>
                  <a:pt x="1735" y="6522"/>
                  <a:pt x="1759" y="4116"/>
                  <a:pt x="2884" y="2335"/>
                </a:cubicBezTo>
                <a:cubicBezTo>
                  <a:pt x="4411" y="-82"/>
                  <a:pt x="6630" y="-278"/>
                  <a:pt x="8998" y="223"/>
                </a:cubicBezTo>
                <a:cubicBezTo>
                  <a:pt x="11544" y="762"/>
                  <a:pt x="14440" y="1912"/>
                  <a:pt x="16658" y="4346"/>
                </a:cubicBezTo>
                <a:close/>
              </a:path>
            </a:pathLst>
          </a:custGeom>
          <a:solidFill>
            <a:schemeClr val="bg2"/>
          </a:solidFill>
          <a:ln w="12700">
            <a:miter lim="400000"/>
          </a:ln>
        </p:spPr>
        <p:txBody>
          <a:bodyPr lIns="25400" tIns="25400" rIns="25400" bIns="25400" anchor="ctr"/>
          <a:lstStyle/>
          <a:p>
            <a:pPr algn="ctr" eaLnBrk="1" fontAlgn="auto">
              <a:spcBef>
                <a:spcPts val="0"/>
              </a:spcBef>
              <a:spcAft>
                <a:spcPts val="0"/>
              </a:spcAft>
              <a:defRPr>
                <a:solidFill>
                  <a:srgbClr val="FFFFFF"/>
                </a:solidFill>
              </a:defRPr>
            </a:pPr>
            <a:endParaRPr sz="900" kern="0" dirty="0">
              <a:solidFill>
                <a:srgbClr val="FFFFFF"/>
              </a:solidFill>
              <a:latin typeface="+mn-lt"/>
              <a:ea typeface="+mn-ea"/>
              <a:cs typeface="+mn-cs"/>
              <a:sym typeface="Helvetica Neue Light"/>
            </a:endParaRPr>
          </a:p>
        </p:txBody>
      </p:sp>
      <p:sp>
        <p:nvSpPr>
          <p:cNvPr id="3" name="Shape">
            <a:extLst>
              <a:ext uri="{FF2B5EF4-FFF2-40B4-BE49-F238E27FC236}">
                <a16:creationId xmlns:a16="http://schemas.microsoft.com/office/drawing/2014/main" id="{F215158C-7815-1748-B049-9E1CFC5897D3}"/>
              </a:ext>
            </a:extLst>
          </p:cNvPr>
          <p:cNvSpPr>
            <a:spLocks/>
          </p:cNvSpPr>
          <p:nvPr/>
        </p:nvSpPr>
        <p:spPr bwMode="auto">
          <a:xfrm rot="16200000" flipH="1">
            <a:off x="-977824" y="2177051"/>
            <a:ext cx="4498608" cy="2546136"/>
          </a:xfrm>
          <a:custGeom>
            <a:avLst/>
            <a:gdLst>
              <a:gd name="T0" fmla="*/ 4509743 w 20823"/>
              <a:gd name="T1" fmla="*/ 2888456 h 19154"/>
              <a:gd name="T2" fmla="*/ 4509743 w 20823"/>
              <a:gd name="T3" fmla="*/ 2888456 h 19154"/>
              <a:gd name="T4" fmla="*/ 4509743 w 20823"/>
              <a:gd name="T5" fmla="*/ 2888456 h 19154"/>
              <a:gd name="T6" fmla="*/ 4509743 w 20823"/>
              <a:gd name="T7" fmla="*/ 2888456 h 19154"/>
              <a:gd name="T8" fmla="*/ 0 60000 65536"/>
              <a:gd name="T9" fmla="*/ 5898240 60000 65536"/>
              <a:gd name="T10" fmla="*/ 11796480 60000 65536"/>
              <a:gd name="T11" fmla="*/ 17694720 60000 65536"/>
              <a:gd name="connsiteX0" fmla="*/ 590 w 20358"/>
              <a:gd name="connsiteY0" fmla="*/ 0 h 19149"/>
              <a:gd name="connsiteX1" fmla="*/ 2116 w 20358"/>
              <a:gd name="connsiteY1" fmla="*/ 15439 h 19149"/>
              <a:gd name="connsiteX2" fmla="*/ 3911 w 20358"/>
              <a:gd name="connsiteY2" fmla="*/ 18336 h 19149"/>
              <a:gd name="connsiteX3" fmla="*/ 14466 w 20358"/>
              <a:gd name="connsiteY3" fmla="*/ 11140 h 19149"/>
              <a:gd name="connsiteX4" fmla="*/ 19761 w 20358"/>
              <a:gd name="connsiteY4" fmla="*/ 0 h 19149"/>
              <a:gd name="connsiteX5" fmla="*/ 590 w 20358"/>
              <a:gd name="connsiteY5" fmla="*/ 0 h 19149"/>
              <a:gd name="connsiteX0" fmla="*/ 590 w 20705"/>
              <a:gd name="connsiteY0" fmla="*/ 0 h 18405"/>
              <a:gd name="connsiteX1" fmla="*/ 2116 w 20705"/>
              <a:gd name="connsiteY1" fmla="*/ 15439 h 18405"/>
              <a:gd name="connsiteX2" fmla="*/ 3911 w 20705"/>
              <a:gd name="connsiteY2" fmla="*/ 18336 h 18405"/>
              <a:gd name="connsiteX3" fmla="*/ 17092 w 20705"/>
              <a:gd name="connsiteY3" fmla="*/ 12471 h 18405"/>
              <a:gd name="connsiteX4" fmla="*/ 19761 w 20705"/>
              <a:gd name="connsiteY4" fmla="*/ 0 h 18405"/>
              <a:gd name="connsiteX5" fmla="*/ 590 w 20705"/>
              <a:gd name="connsiteY5" fmla="*/ 0 h 18405"/>
              <a:gd name="connsiteX0" fmla="*/ 768 w 20938"/>
              <a:gd name="connsiteY0" fmla="*/ 0 h 16215"/>
              <a:gd name="connsiteX1" fmla="*/ 2294 w 20938"/>
              <a:gd name="connsiteY1" fmla="*/ 15439 h 16215"/>
              <a:gd name="connsiteX2" fmla="*/ 17270 w 20938"/>
              <a:gd name="connsiteY2" fmla="*/ 12471 h 16215"/>
              <a:gd name="connsiteX3" fmla="*/ 19939 w 20938"/>
              <a:gd name="connsiteY3" fmla="*/ 0 h 16215"/>
              <a:gd name="connsiteX4" fmla="*/ 768 w 20938"/>
              <a:gd name="connsiteY4" fmla="*/ 0 h 16215"/>
              <a:gd name="connsiteX0" fmla="*/ 814 w 21226"/>
              <a:gd name="connsiteY0" fmla="*/ 0 h 16215"/>
              <a:gd name="connsiteX1" fmla="*/ 2340 w 21226"/>
              <a:gd name="connsiteY1" fmla="*/ 15439 h 16215"/>
              <a:gd name="connsiteX2" fmla="*/ 18243 w 21226"/>
              <a:gd name="connsiteY2" fmla="*/ 12471 h 16215"/>
              <a:gd name="connsiteX3" fmla="*/ 19985 w 21226"/>
              <a:gd name="connsiteY3" fmla="*/ 0 h 16215"/>
              <a:gd name="connsiteX4" fmla="*/ 814 w 21226"/>
              <a:gd name="connsiteY4" fmla="*/ 0 h 16215"/>
              <a:gd name="connsiteX0" fmla="*/ 431 w 20778"/>
              <a:gd name="connsiteY0" fmla="*/ 0 h 17123"/>
              <a:gd name="connsiteX1" fmla="*/ 3502 w 20778"/>
              <a:gd name="connsiteY1" fmla="*/ 16474 h 17123"/>
              <a:gd name="connsiteX2" fmla="*/ 17860 w 20778"/>
              <a:gd name="connsiteY2" fmla="*/ 12471 h 17123"/>
              <a:gd name="connsiteX3" fmla="*/ 19602 w 20778"/>
              <a:gd name="connsiteY3" fmla="*/ 0 h 17123"/>
              <a:gd name="connsiteX4" fmla="*/ 431 w 20778"/>
              <a:gd name="connsiteY4" fmla="*/ 0 h 17123"/>
              <a:gd name="connsiteX0" fmla="*/ 700 w 21047"/>
              <a:gd name="connsiteY0" fmla="*/ 0 h 17083"/>
              <a:gd name="connsiteX1" fmla="*/ 3771 w 21047"/>
              <a:gd name="connsiteY1" fmla="*/ 16474 h 17083"/>
              <a:gd name="connsiteX2" fmla="*/ 18129 w 21047"/>
              <a:gd name="connsiteY2" fmla="*/ 12471 h 17083"/>
              <a:gd name="connsiteX3" fmla="*/ 19871 w 21047"/>
              <a:gd name="connsiteY3" fmla="*/ 0 h 17083"/>
              <a:gd name="connsiteX4" fmla="*/ 700 w 21047"/>
              <a:gd name="connsiteY4" fmla="*/ 0 h 17083"/>
              <a:gd name="connsiteX0" fmla="*/ 427 w 20731"/>
              <a:gd name="connsiteY0" fmla="*/ 0 h 16860"/>
              <a:gd name="connsiteX1" fmla="*/ 3498 w 20731"/>
              <a:gd name="connsiteY1" fmla="*/ 16474 h 16860"/>
              <a:gd name="connsiteX2" fmla="*/ 17702 w 20731"/>
              <a:gd name="connsiteY2" fmla="*/ 10696 h 16860"/>
              <a:gd name="connsiteX3" fmla="*/ 19598 w 20731"/>
              <a:gd name="connsiteY3" fmla="*/ 0 h 16860"/>
              <a:gd name="connsiteX4" fmla="*/ 427 w 20731"/>
              <a:gd name="connsiteY4" fmla="*/ 0 h 16860"/>
              <a:gd name="connsiteX0" fmla="*/ 466 w 20770"/>
              <a:gd name="connsiteY0" fmla="*/ 0 h 16884"/>
              <a:gd name="connsiteX1" fmla="*/ 3537 w 20770"/>
              <a:gd name="connsiteY1" fmla="*/ 16474 h 16884"/>
              <a:gd name="connsiteX2" fmla="*/ 17741 w 20770"/>
              <a:gd name="connsiteY2" fmla="*/ 10696 h 16884"/>
              <a:gd name="connsiteX3" fmla="*/ 19637 w 20770"/>
              <a:gd name="connsiteY3" fmla="*/ 0 h 16884"/>
              <a:gd name="connsiteX4" fmla="*/ 466 w 20770"/>
              <a:gd name="connsiteY4" fmla="*/ 0 h 16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0" h="16884" extrusionOk="0">
                <a:moveTo>
                  <a:pt x="466" y="0"/>
                </a:moveTo>
                <a:cubicBezTo>
                  <a:pt x="-723" y="4578"/>
                  <a:pt x="380" y="15249"/>
                  <a:pt x="3537" y="16474"/>
                </a:cubicBezTo>
                <a:cubicBezTo>
                  <a:pt x="8321" y="18331"/>
                  <a:pt x="15058" y="13442"/>
                  <a:pt x="17741" y="10696"/>
                </a:cubicBezTo>
                <a:cubicBezTo>
                  <a:pt x="20424" y="7950"/>
                  <a:pt x="21950" y="1857"/>
                  <a:pt x="19637" y="0"/>
                </a:cubicBezTo>
                <a:lnTo>
                  <a:pt x="466" y="0"/>
                </a:lnTo>
                <a:close/>
              </a:path>
            </a:pathLst>
          </a:custGeom>
          <a:solidFill>
            <a:schemeClr val="tx2"/>
          </a:solidFill>
          <a:ln>
            <a:noFill/>
          </a:ln>
          <a:effectLst>
            <a:outerShdw blurRad="127000" algn="ctr" rotWithShape="0">
              <a:schemeClr val="tx2">
                <a:lumMod val="75000"/>
                <a:alpha val="50000"/>
              </a:schemeClr>
            </a:outerShdw>
          </a:effectLst>
        </p:spPr>
        <p:txBody>
          <a:bodyPr lIns="25400" tIns="25400" rIns="25400" bIns="25400" anchor="ctr"/>
          <a:lstStyle/>
          <a:p>
            <a:endParaRPr lang="en-US" sz="900" dirty="0"/>
          </a:p>
        </p:txBody>
      </p:sp>
      <p:pic>
        <p:nvPicPr>
          <p:cNvPr id="10" name="Picture 9">
            <a:extLst>
              <a:ext uri="{FF2B5EF4-FFF2-40B4-BE49-F238E27FC236}">
                <a16:creationId xmlns:a16="http://schemas.microsoft.com/office/drawing/2014/main" id="{7723CE07-A0A7-614F-B891-27CA5EBE29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6" name="Text Placeholder 5">
            <a:extLst>
              <a:ext uri="{FF2B5EF4-FFF2-40B4-BE49-F238E27FC236}">
                <a16:creationId xmlns:a16="http://schemas.microsoft.com/office/drawing/2014/main" id="{712E61B3-1650-664E-8117-56F5DF6C0CAD}"/>
              </a:ext>
            </a:extLst>
          </p:cNvPr>
          <p:cNvSpPr>
            <a:spLocks noGrp="1"/>
          </p:cNvSpPr>
          <p:nvPr>
            <p:ph type="body" sz="quarter" idx="10" hasCustomPrompt="1"/>
          </p:nvPr>
        </p:nvSpPr>
        <p:spPr>
          <a:xfrm>
            <a:off x="300039" y="2164557"/>
            <a:ext cx="2138362" cy="2528887"/>
          </a:xfrm>
        </p:spPr>
        <p:txBody>
          <a:bodyPr anchor="ctr">
            <a:normAutofit/>
          </a:bodyPr>
          <a:lstStyle>
            <a:lvl1pPr algn="l">
              <a:defRPr sz="4400">
                <a:solidFill>
                  <a:schemeClr val="accent4"/>
                </a:solidFill>
              </a:defRPr>
            </a:lvl1pPr>
          </a:lstStyle>
          <a:p>
            <a:pPr lvl="0"/>
            <a:r>
              <a:rPr lang="en-US"/>
              <a:t>NEXT STEPS</a:t>
            </a:r>
          </a:p>
        </p:txBody>
      </p:sp>
      <p:sp>
        <p:nvSpPr>
          <p:cNvPr id="8" name="Text Placeholder 7">
            <a:extLst>
              <a:ext uri="{FF2B5EF4-FFF2-40B4-BE49-F238E27FC236}">
                <a16:creationId xmlns:a16="http://schemas.microsoft.com/office/drawing/2014/main" id="{78232787-5876-4A4B-B139-C0D22DD21B43}"/>
              </a:ext>
            </a:extLst>
          </p:cNvPr>
          <p:cNvSpPr>
            <a:spLocks noGrp="1"/>
          </p:cNvSpPr>
          <p:nvPr>
            <p:ph type="body" sz="quarter" idx="11" hasCustomPrompt="1"/>
          </p:nvPr>
        </p:nvSpPr>
        <p:spPr>
          <a:xfrm>
            <a:off x="3067044" y="291251"/>
            <a:ext cx="7639055" cy="6275499"/>
          </a:xfrm>
        </p:spPr>
        <p:txBody>
          <a:bodyPr anchor="ctr"/>
          <a:lstStyle>
            <a:lvl1pPr marL="0" indent="520700" algn="l">
              <a:lnSpc>
                <a:spcPct val="200000"/>
              </a:lnSpc>
              <a:buFont typeface="+mj-lt"/>
              <a:buAutoNum type="arabicPeriod"/>
              <a:tabLst/>
              <a:defRPr/>
            </a:lvl1pPr>
            <a:lvl2pPr>
              <a:buFont typeface="Arial" panose="020B0604020202020204" pitchFamily="34" charset="0"/>
              <a:buChar char="•"/>
              <a:defRPr/>
            </a:lvl2pPr>
            <a:lvl3pPr>
              <a:buFont typeface="Arial" panose="020B0604020202020204" pitchFamily="34" charset="0"/>
              <a:buChar char="•"/>
              <a:defRPr/>
            </a:lvl3pPr>
            <a:lvl4pPr>
              <a:buFont typeface="Arial" panose="020B0604020202020204" pitchFamily="34" charset="0"/>
              <a:buChar char="•"/>
              <a:defRPr/>
            </a:lvl4pPr>
            <a:lvl5pPr>
              <a:buFont typeface="Arial" panose="020B0604020202020204" pitchFamily="34" charset="0"/>
              <a:buChar char="•"/>
              <a:defRPr/>
            </a:lvl5pPr>
          </a:lstStyle>
          <a:p>
            <a:pPr lvl="0"/>
            <a:r>
              <a:rPr lang="en-US"/>
              <a:t>Next Step</a:t>
            </a:r>
          </a:p>
          <a:p>
            <a:pPr lvl="0"/>
            <a:r>
              <a:rPr lang="en-US"/>
              <a:t>Next Step</a:t>
            </a:r>
          </a:p>
          <a:p>
            <a:pPr lvl="0"/>
            <a:r>
              <a:rPr lang="en-US"/>
              <a:t>Next Step</a:t>
            </a:r>
          </a:p>
        </p:txBody>
      </p:sp>
      <p:sp>
        <p:nvSpPr>
          <p:cNvPr id="11" name="Slide Number Placeholder 8">
            <a:extLst>
              <a:ext uri="{FF2B5EF4-FFF2-40B4-BE49-F238E27FC236}">
                <a16:creationId xmlns:a16="http://schemas.microsoft.com/office/drawing/2014/main" id="{07B0DEC1-D7ED-024A-9FDA-0781D1581C25}"/>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74340828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line + Copy">
    <p:bg>
      <p:bgPr>
        <a:solidFill>
          <a:schemeClr val="tx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3B19C50B-84CA-464E-AFBD-20EB6F8B0410}"/>
              </a:ext>
            </a:extLst>
          </p:cNvPr>
          <p:cNvSpPr/>
          <p:nvPr userDrawn="1"/>
        </p:nvSpPr>
        <p:spPr>
          <a:xfrm rot="5400000" flipV="1">
            <a:off x="3261670" y="-2330130"/>
            <a:ext cx="5668658" cy="12201380"/>
          </a:xfrm>
          <a:custGeom>
            <a:avLst/>
            <a:gdLst>
              <a:gd name="connsiteX0" fmla="*/ 343 w 5505368"/>
              <a:gd name="connsiteY0" fmla="*/ 2856620 h 12201380"/>
              <a:gd name="connsiteX1" fmla="*/ 184970 w 5505368"/>
              <a:gd name="connsiteY1" fmla="*/ 12192002 h 12201380"/>
              <a:gd name="connsiteX2" fmla="*/ 1763774 w 5505368"/>
              <a:gd name="connsiteY2" fmla="*/ 12192002 h 12201380"/>
              <a:gd name="connsiteX3" fmla="*/ 1763774 w 5505368"/>
              <a:gd name="connsiteY3" fmla="*/ 12201380 h 12201380"/>
              <a:gd name="connsiteX4" fmla="*/ 5238870 w 5505368"/>
              <a:gd name="connsiteY4" fmla="*/ 12201380 h 12201380"/>
              <a:gd name="connsiteX5" fmla="*/ 5238870 w 5505368"/>
              <a:gd name="connsiteY5" fmla="*/ 9379 h 12201380"/>
              <a:gd name="connsiteX6" fmla="*/ 2596949 w 5505368"/>
              <a:gd name="connsiteY6" fmla="*/ 9379 h 12201380"/>
              <a:gd name="connsiteX7" fmla="*/ 2596949 w 5505368"/>
              <a:gd name="connsiteY7" fmla="*/ 0 h 12201380"/>
              <a:gd name="connsiteX8" fmla="*/ 184970 w 5505368"/>
              <a:gd name="connsiteY8" fmla="*/ 0 h 12201380"/>
              <a:gd name="connsiteX9" fmla="*/ 343 w 5505368"/>
              <a:gd name="connsiteY9" fmla="*/ 2856620 h 122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5368" h="12201380">
                <a:moveTo>
                  <a:pt x="343" y="2856620"/>
                </a:moveTo>
                <a:cubicBezTo>
                  <a:pt x="-13153" y="5808983"/>
                  <a:pt x="377153" y="9016623"/>
                  <a:pt x="184970" y="12192002"/>
                </a:cubicBezTo>
                <a:lnTo>
                  <a:pt x="1763774" y="12192002"/>
                </a:lnTo>
                <a:lnTo>
                  <a:pt x="1763774" y="12201380"/>
                </a:lnTo>
                <a:lnTo>
                  <a:pt x="5238870" y="12201380"/>
                </a:lnTo>
                <a:cubicBezTo>
                  <a:pt x="4869682" y="7967542"/>
                  <a:pt x="5992461" y="3676350"/>
                  <a:pt x="5238870" y="9379"/>
                </a:cubicBezTo>
                <a:lnTo>
                  <a:pt x="2596949" y="9379"/>
                </a:lnTo>
                <a:lnTo>
                  <a:pt x="2596949" y="0"/>
                </a:lnTo>
                <a:lnTo>
                  <a:pt x="184970" y="0"/>
                </a:lnTo>
                <a:cubicBezTo>
                  <a:pt x="54208" y="916743"/>
                  <a:pt x="4842" y="1872500"/>
                  <a:pt x="343" y="2856620"/>
                </a:cubicBezTo>
                <a:close/>
              </a:path>
            </a:pathLst>
          </a:custGeom>
          <a:solidFill>
            <a:schemeClr val="bg2"/>
          </a:solidFill>
          <a:ln>
            <a:noFill/>
          </a:ln>
          <a:effectLst>
            <a:outerShdw blurRad="127000" dist="381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dirty="0">
              <a:latin typeface="Myriad Pro" panose="020B0503030403020204" pitchFamily="34" charset="0"/>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15" name="Text Placeholder 32">
            <a:extLst>
              <a:ext uri="{FF2B5EF4-FFF2-40B4-BE49-F238E27FC236}">
                <a16:creationId xmlns:a16="http://schemas.microsoft.com/office/drawing/2014/main" id="{95C7CA90-12F9-7C4B-A2D7-BEB7F04951E3}"/>
              </a:ext>
            </a:extLst>
          </p:cNvPr>
          <p:cNvSpPr>
            <a:spLocks noGrp="1"/>
          </p:cNvSpPr>
          <p:nvPr>
            <p:ph type="body" sz="quarter" idx="11" hasCustomPrompt="1"/>
          </p:nvPr>
        </p:nvSpPr>
        <p:spPr>
          <a:xfrm>
            <a:off x="335971" y="1309177"/>
            <a:ext cx="11475029" cy="538993"/>
          </a:xfrm>
        </p:spPr>
        <p:txBody>
          <a:bodyPr anchor="t"/>
          <a:lstStyle>
            <a:lvl1pPr>
              <a:lnSpc>
                <a:spcPct val="100000"/>
              </a:lnSpc>
              <a:spcBef>
                <a:spcPts val="0"/>
              </a:spcBef>
              <a:spcAft>
                <a:spcPts val="600"/>
              </a:spcAft>
              <a:defRPr sz="2000" b="1" spc="300">
                <a:solidFill>
                  <a:schemeClr val="bg1"/>
                </a:solidFill>
              </a:defRPr>
            </a:lvl1pPr>
            <a:lvl2pPr>
              <a:defRPr sz="2000" b="1"/>
            </a:lvl2pPr>
            <a:lvl3pPr>
              <a:defRPr sz="2000" b="1"/>
            </a:lvl3pPr>
            <a:lvl4pPr>
              <a:defRPr sz="2000" b="1"/>
            </a:lvl4pPr>
            <a:lvl5pPr>
              <a:defRPr sz="2000" b="1"/>
            </a:lvl5pPr>
          </a:lstStyle>
          <a:p>
            <a:pPr lvl="0"/>
            <a:r>
              <a:rPr lang="en-US"/>
              <a:t>HEADLINE COPY</a:t>
            </a:r>
          </a:p>
        </p:txBody>
      </p:sp>
      <p:sp>
        <p:nvSpPr>
          <p:cNvPr id="16" name="Text Placeholder 32">
            <a:extLst>
              <a:ext uri="{FF2B5EF4-FFF2-40B4-BE49-F238E27FC236}">
                <a16:creationId xmlns:a16="http://schemas.microsoft.com/office/drawing/2014/main" id="{05B46DAD-AB70-E84A-A775-3E5BA005F695}"/>
              </a:ext>
            </a:extLst>
          </p:cNvPr>
          <p:cNvSpPr>
            <a:spLocks noGrp="1"/>
          </p:cNvSpPr>
          <p:nvPr>
            <p:ph type="body" sz="quarter" idx="13" hasCustomPrompt="1"/>
          </p:nvPr>
        </p:nvSpPr>
        <p:spPr>
          <a:xfrm>
            <a:off x="348850" y="1848170"/>
            <a:ext cx="11462150" cy="4487841"/>
          </a:xfrm>
        </p:spPr>
        <p:txBody>
          <a:bodyPr anchor="t">
            <a:normAutofit/>
          </a:bodyPr>
          <a:lstStyle>
            <a:lvl1pPr>
              <a:lnSpc>
                <a:spcPct val="100000"/>
              </a:lnSpc>
              <a:spcBef>
                <a:spcPts val="0"/>
              </a:spcBef>
              <a:spcAft>
                <a:spcPts val="600"/>
              </a:spcAft>
              <a:defRPr sz="1800" b="0" spc="0">
                <a:solidFill>
                  <a:schemeClr val="bg1"/>
                </a:solidFill>
              </a:defRPr>
            </a:lvl1pPr>
            <a:lvl2pPr>
              <a:defRPr sz="2000" b="1"/>
            </a:lvl2pPr>
            <a:lvl3pPr>
              <a:defRPr sz="2000" b="1"/>
            </a:lvl3pPr>
            <a:lvl4pPr>
              <a:defRPr sz="2000" b="1"/>
            </a:lvl4pPr>
            <a:lvl5pPr>
              <a:defRPr sz="2000" b="1"/>
            </a:lvl5pPr>
          </a:lstStyle>
          <a:p>
            <a:pPr lvl="0"/>
            <a:r>
              <a:rPr lang="en-US"/>
              <a:t>Copy</a:t>
            </a:r>
          </a:p>
        </p:txBody>
      </p:sp>
      <p:sp>
        <p:nvSpPr>
          <p:cNvPr id="18" name="Title 1">
            <a:extLst>
              <a:ext uri="{FF2B5EF4-FFF2-40B4-BE49-F238E27FC236}">
                <a16:creationId xmlns:a16="http://schemas.microsoft.com/office/drawing/2014/main" id="{3D30EB47-6EF6-F242-B20E-83B93699600F}"/>
              </a:ext>
            </a:extLst>
          </p:cNvPr>
          <p:cNvSpPr>
            <a:spLocks noGrp="1"/>
          </p:cNvSpPr>
          <p:nvPr>
            <p:ph type="title" hasCustomPrompt="1"/>
          </p:nvPr>
        </p:nvSpPr>
        <p:spPr>
          <a:xfrm>
            <a:off x="335971" y="253111"/>
            <a:ext cx="9912929" cy="807063"/>
          </a:xfrm>
        </p:spPr>
        <p:txBody>
          <a:bodyPr anchor="t"/>
          <a:lstStyle>
            <a:lvl1pPr>
              <a:spcAft>
                <a:spcPts val="600"/>
              </a:spcAft>
              <a:defRPr>
                <a:solidFill>
                  <a:schemeClr val="accent4"/>
                </a:solidFill>
              </a:defRPr>
            </a:lvl1pPr>
          </a:lstStyle>
          <a:p>
            <a:r>
              <a:rPr lang="en-US"/>
              <a:t>HEADLINE</a:t>
            </a:r>
          </a:p>
        </p:txBody>
      </p:sp>
    </p:spTree>
    <p:extLst>
      <p:ext uri="{BB962C8B-B14F-4D97-AF65-F5344CB8AC3E}">
        <p14:creationId xmlns:p14="http://schemas.microsoft.com/office/powerpoint/2010/main" val="823970611"/>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32B6-779E-E549-A313-52D9BA7C13D1}"/>
              </a:ext>
            </a:extLst>
          </p:cNvPr>
          <p:cNvSpPr>
            <a:spLocks noGrp="1"/>
          </p:cNvSpPr>
          <p:nvPr>
            <p:ph type="title" hasCustomPrompt="1"/>
          </p:nvPr>
        </p:nvSpPr>
        <p:spPr>
          <a:xfrm>
            <a:off x="335971" y="253111"/>
            <a:ext cx="9747829" cy="1325563"/>
          </a:xfrm>
          <a:prstGeom prst="rect">
            <a:avLst/>
          </a:prstGeom>
        </p:spPr>
        <p:txBody>
          <a:bodyPr anchor="t"/>
          <a:lstStyle>
            <a:lvl1pPr>
              <a:defRPr>
                <a:solidFill>
                  <a:schemeClr val="accent4"/>
                </a:solidFill>
              </a:defRPr>
            </a:lvl1pPr>
          </a:lstStyle>
          <a:p>
            <a:r>
              <a:rPr lang="en-US"/>
              <a:t>HEADLINE</a:t>
            </a:r>
          </a:p>
        </p:txBody>
      </p:sp>
      <p:sp>
        <p:nvSpPr>
          <p:cNvPr id="7" name="Slide Number Placeholder 8">
            <a:extLst>
              <a:ext uri="{FF2B5EF4-FFF2-40B4-BE49-F238E27FC236}">
                <a16:creationId xmlns:a16="http://schemas.microsoft.com/office/drawing/2014/main" id="{41B58984-9997-494D-96CE-26F8BF8854EB}"/>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4429369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8">
            <a:extLst>
              <a:ext uri="{FF2B5EF4-FFF2-40B4-BE49-F238E27FC236}">
                <a16:creationId xmlns:a16="http://schemas.microsoft.com/office/drawing/2014/main" id="{4F1962F0-705B-8240-85D5-40A5B5B304B3}"/>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7868619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3B19C50B-84CA-464E-AFBD-20EB6F8B0410}"/>
              </a:ext>
            </a:extLst>
          </p:cNvPr>
          <p:cNvSpPr/>
          <p:nvPr userDrawn="1"/>
        </p:nvSpPr>
        <p:spPr>
          <a:xfrm rot="5400000" flipV="1">
            <a:off x="3261670" y="-2578669"/>
            <a:ext cx="5668658" cy="12201380"/>
          </a:xfrm>
          <a:custGeom>
            <a:avLst/>
            <a:gdLst>
              <a:gd name="connsiteX0" fmla="*/ 343 w 5505368"/>
              <a:gd name="connsiteY0" fmla="*/ 2856620 h 12201380"/>
              <a:gd name="connsiteX1" fmla="*/ 184970 w 5505368"/>
              <a:gd name="connsiteY1" fmla="*/ 12192002 h 12201380"/>
              <a:gd name="connsiteX2" fmla="*/ 1763774 w 5505368"/>
              <a:gd name="connsiteY2" fmla="*/ 12192002 h 12201380"/>
              <a:gd name="connsiteX3" fmla="*/ 1763774 w 5505368"/>
              <a:gd name="connsiteY3" fmla="*/ 12201380 h 12201380"/>
              <a:gd name="connsiteX4" fmla="*/ 5238870 w 5505368"/>
              <a:gd name="connsiteY4" fmla="*/ 12201380 h 12201380"/>
              <a:gd name="connsiteX5" fmla="*/ 5238870 w 5505368"/>
              <a:gd name="connsiteY5" fmla="*/ 9379 h 12201380"/>
              <a:gd name="connsiteX6" fmla="*/ 2596949 w 5505368"/>
              <a:gd name="connsiteY6" fmla="*/ 9379 h 12201380"/>
              <a:gd name="connsiteX7" fmla="*/ 2596949 w 5505368"/>
              <a:gd name="connsiteY7" fmla="*/ 0 h 12201380"/>
              <a:gd name="connsiteX8" fmla="*/ 184970 w 5505368"/>
              <a:gd name="connsiteY8" fmla="*/ 0 h 12201380"/>
              <a:gd name="connsiteX9" fmla="*/ 343 w 5505368"/>
              <a:gd name="connsiteY9" fmla="*/ 2856620 h 122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5368" h="12201380">
                <a:moveTo>
                  <a:pt x="343" y="2856620"/>
                </a:moveTo>
                <a:cubicBezTo>
                  <a:pt x="-13153" y="5808983"/>
                  <a:pt x="377153" y="9016623"/>
                  <a:pt x="184970" y="12192002"/>
                </a:cubicBezTo>
                <a:lnTo>
                  <a:pt x="1763774" y="12192002"/>
                </a:lnTo>
                <a:lnTo>
                  <a:pt x="1763774" y="12201380"/>
                </a:lnTo>
                <a:lnTo>
                  <a:pt x="5238870" y="12201380"/>
                </a:lnTo>
                <a:cubicBezTo>
                  <a:pt x="4869682" y="7967542"/>
                  <a:pt x="5992461" y="3676350"/>
                  <a:pt x="5238870" y="9379"/>
                </a:cubicBezTo>
                <a:lnTo>
                  <a:pt x="2596949" y="9379"/>
                </a:lnTo>
                <a:lnTo>
                  <a:pt x="2596949" y="0"/>
                </a:lnTo>
                <a:lnTo>
                  <a:pt x="184970" y="0"/>
                </a:lnTo>
                <a:cubicBezTo>
                  <a:pt x="54208" y="916743"/>
                  <a:pt x="4842" y="1872500"/>
                  <a:pt x="343" y="2856620"/>
                </a:cubicBezTo>
                <a:close/>
              </a:path>
            </a:pathLst>
          </a:custGeom>
          <a:solidFill>
            <a:schemeClr val="bg2"/>
          </a:solidFill>
          <a:ln>
            <a:noFill/>
          </a:ln>
          <a:effectLst>
            <a:outerShdw blurRad="127000" dist="381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dirty="0">
              <a:latin typeface="Myriad Pro" panose="020B0503030403020204" pitchFamily="34" charset="0"/>
            </a:endParaRPr>
          </a:p>
        </p:txBody>
      </p:sp>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4064434272"/>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6" name="Oval 1">
            <a:extLst>
              <a:ext uri="{FF2B5EF4-FFF2-40B4-BE49-F238E27FC236}">
                <a16:creationId xmlns:a16="http://schemas.microsoft.com/office/drawing/2014/main" id="{E0C0CF0E-388E-C649-B18B-7EDEAACCCB7A}"/>
              </a:ext>
            </a:extLst>
          </p:cNvPr>
          <p:cNvSpPr/>
          <p:nvPr userDrawn="1"/>
        </p:nvSpPr>
        <p:spPr>
          <a:xfrm>
            <a:off x="2336775" y="337580"/>
            <a:ext cx="7518446" cy="6182840"/>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bg2"/>
          </a:solidFill>
          <a:ln>
            <a:noFill/>
          </a:ln>
          <a:effectLst>
            <a:outerShdw blurRad="127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4964714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_Change Background Color">
    <p:bg>
      <p:bgPr>
        <a:solidFill>
          <a:schemeClr val="tx2"/>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37D8EEDD-C6F6-2D4C-B308-1E3A594090AA}"/>
              </a:ext>
            </a:extLst>
          </p:cNvPr>
          <p:cNvSpPr>
            <a:spLocks/>
          </p:cNvSpPr>
          <p:nvPr/>
        </p:nvSpPr>
        <p:spPr bwMode="auto">
          <a:xfrm>
            <a:off x="2238294" y="-11113"/>
            <a:ext cx="9734760" cy="6349754"/>
          </a:xfrm>
          <a:custGeom>
            <a:avLst/>
            <a:gdLst>
              <a:gd name="T0" fmla="*/ 8751800 w 20831"/>
              <a:gd name="T1" fmla="*/ 5708631 h 19270"/>
              <a:gd name="T2" fmla="*/ 8751800 w 20831"/>
              <a:gd name="T3" fmla="*/ 5708631 h 19270"/>
              <a:gd name="T4" fmla="*/ 8751800 w 20831"/>
              <a:gd name="T5" fmla="*/ 5708631 h 19270"/>
              <a:gd name="T6" fmla="*/ 8751800 w 20831"/>
              <a:gd name="T7" fmla="*/ 5708631 h 1927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0831" h="19270" extrusionOk="0">
                <a:moveTo>
                  <a:pt x="1009" y="0"/>
                </a:moveTo>
                <a:cubicBezTo>
                  <a:pt x="266" y="1257"/>
                  <a:pt x="-146" y="2698"/>
                  <a:pt x="48" y="4378"/>
                </a:cubicBezTo>
                <a:cubicBezTo>
                  <a:pt x="530" y="8552"/>
                  <a:pt x="4166" y="9341"/>
                  <a:pt x="6733" y="11592"/>
                </a:cubicBezTo>
                <a:cubicBezTo>
                  <a:pt x="10296" y="14716"/>
                  <a:pt x="13245" y="21600"/>
                  <a:pt x="16958" y="18475"/>
                </a:cubicBezTo>
                <a:cubicBezTo>
                  <a:pt x="17721" y="17833"/>
                  <a:pt x="18241" y="16781"/>
                  <a:pt x="18697" y="15704"/>
                </a:cubicBezTo>
                <a:cubicBezTo>
                  <a:pt x="20828" y="10666"/>
                  <a:pt x="21454" y="4638"/>
                  <a:pt x="20162" y="0"/>
                </a:cubicBezTo>
                <a:lnTo>
                  <a:pt x="1009" y="0"/>
                </a:lnTo>
                <a:close/>
              </a:path>
            </a:pathLst>
          </a:custGeom>
          <a:solidFill>
            <a:schemeClr val="bg2"/>
          </a:solidFill>
          <a:ln>
            <a:noFill/>
          </a:ln>
          <a:effectLst>
            <a:outerShdw blurRad="127000" dist="38100" dir="8100000" algn="tr" rotWithShape="0">
              <a:schemeClr val="tx2">
                <a:lumMod val="75000"/>
                <a:alpha val="50000"/>
              </a:schemeClr>
            </a:outerShdw>
          </a:effectLst>
        </p:spPr>
        <p:txBody>
          <a:bodyPr lIns="25400" tIns="25400" rIns="25400" bIns="25400" anchor="ctr"/>
          <a:lstStyle/>
          <a:p>
            <a:endParaRPr lang="en-US" sz="900" dirty="0"/>
          </a:p>
        </p:txBody>
      </p:sp>
      <p:sp>
        <p:nvSpPr>
          <p:cNvPr id="6" name="Picture Placeholder 5">
            <a:extLst>
              <a:ext uri="{FF2B5EF4-FFF2-40B4-BE49-F238E27FC236}">
                <a16:creationId xmlns:a16="http://schemas.microsoft.com/office/drawing/2014/main" id="{A6752F0D-2358-4CCB-8AF6-CC07D8D3A955}"/>
              </a:ext>
            </a:extLst>
          </p:cNvPr>
          <p:cNvSpPr>
            <a:spLocks noGrp="1"/>
          </p:cNvSpPr>
          <p:nvPr>
            <p:ph type="pic" idx="13"/>
          </p:nvPr>
        </p:nvSpPr>
        <p:spPr>
          <a:xfrm>
            <a:off x="2531513" y="-4961"/>
            <a:ext cx="9426277" cy="6037449"/>
          </a:xfrm>
          <a:custGeom>
            <a:avLst/>
            <a:gdLst>
              <a:gd name="connsiteX0" fmla="*/ 863644 w 16949101"/>
              <a:gd name="connsiteY0" fmla="*/ 0 h 10855753"/>
              <a:gd name="connsiteX1" fmla="*/ 16468556 w 16949101"/>
              <a:gd name="connsiteY1" fmla="*/ 0 h 10855753"/>
              <a:gd name="connsiteX2" fmla="*/ 15225600 w 16949101"/>
              <a:gd name="connsiteY2" fmla="*/ 8750383 h 10855753"/>
              <a:gd name="connsiteX3" fmla="*/ 13764496 w 16949101"/>
              <a:gd name="connsiteY3" fmla="*/ 10392319 h 10855753"/>
              <a:gd name="connsiteX4" fmla="*/ 5173696 w 16949101"/>
              <a:gd name="connsiteY4" fmla="*/ 6314400 h 10855753"/>
              <a:gd name="connsiteX5" fmla="*/ 56984 w 16949101"/>
              <a:gd name="connsiteY5" fmla="*/ 2593546 h 10855753"/>
              <a:gd name="connsiteX6" fmla="*/ 863644 w 16949101"/>
              <a:gd name="connsiteY6" fmla="*/ 0 h 10855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49101" h="10855753">
                <a:moveTo>
                  <a:pt x="863644" y="0"/>
                </a:moveTo>
                <a:lnTo>
                  <a:pt x="16468556" y="0"/>
                </a:lnTo>
                <a:cubicBezTo>
                  <a:pt x="17436384" y="2594680"/>
                  <a:pt x="16902412" y="5937497"/>
                  <a:pt x="15225600" y="8750383"/>
                </a:cubicBezTo>
                <a:cubicBezTo>
                  <a:pt x="14844656" y="9389701"/>
                  <a:pt x="14407546" y="10014283"/>
                  <a:pt x="13764496" y="10392319"/>
                </a:cubicBezTo>
                <a:cubicBezTo>
                  <a:pt x="10623328" y="12242261"/>
                  <a:pt x="8190326" y="8073658"/>
                  <a:pt x="5173696" y="6314400"/>
                </a:cubicBezTo>
                <a:cubicBezTo>
                  <a:pt x="3211177" y="5168955"/>
                  <a:pt x="498978" y="4784684"/>
                  <a:pt x="56984" y="2593546"/>
                </a:cubicBezTo>
                <a:cubicBezTo>
                  <a:pt x="-145698" y="1590361"/>
                  <a:pt x="208385" y="733402"/>
                  <a:pt x="863644" y="0"/>
                </a:cubicBezTo>
                <a:close/>
              </a:path>
            </a:pathLst>
          </a:custGeom>
          <a:pattFill prst="pct90">
            <a:fgClr>
              <a:schemeClr val="tx2"/>
            </a:fgClr>
            <a:bgClr>
              <a:schemeClr val="accent1"/>
            </a:bgClr>
          </a:pattFill>
        </p:spPr>
        <p:txBody>
          <a:bodyPr lIns="91439" tIns="45719" rIns="91439" bIns="45719">
            <a:noAutofit/>
          </a:bodyPr>
          <a:lstStyle/>
          <a:p>
            <a:pPr lvl="0"/>
            <a:r>
              <a:rPr lang="en-US" noProof="0" dirty="0">
                <a:sym typeface="Helvetica Neue Light"/>
              </a:rPr>
              <a:t>Click icon to add picture</a:t>
            </a:r>
            <a:endParaRPr noProof="0" dirty="0">
              <a:sym typeface="Helvetica Neue Light"/>
            </a:endParaRPr>
          </a:p>
        </p:txBody>
      </p:sp>
      <p:sp>
        <p:nvSpPr>
          <p:cNvPr id="9" name="Text Placeholder 8">
            <a:extLst>
              <a:ext uri="{FF2B5EF4-FFF2-40B4-BE49-F238E27FC236}">
                <a16:creationId xmlns:a16="http://schemas.microsoft.com/office/drawing/2014/main" id="{B3742D24-B32C-4B4F-AB47-5B02CDECDC6B}"/>
              </a:ext>
            </a:extLst>
          </p:cNvPr>
          <p:cNvSpPr>
            <a:spLocks noGrp="1"/>
          </p:cNvSpPr>
          <p:nvPr>
            <p:ph type="body" sz="quarter" idx="14" hasCustomPrompt="1"/>
          </p:nvPr>
        </p:nvSpPr>
        <p:spPr>
          <a:xfrm>
            <a:off x="321169" y="5014535"/>
            <a:ext cx="6535849" cy="307777"/>
          </a:xfrm>
        </p:spPr>
        <p:txBody>
          <a:bodyPr wrap="square">
            <a:spAutoFit/>
          </a:bodyPr>
          <a:lstStyle>
            <a:lvl1pPr algn="l">
              <a:defRPr sz="1400" b="0" i="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Location | Date</a:t>
            </a:r>
          </a:p>
        </p:txBody>
      </p:sp>
      <p:sp>
        <p:nvSpPr>
          <p:cNvPr id="10" name="Text Placeholder 8">
            <a:extLst>
              <a:ext uri="{FF2B5EF4-FFF2-40B4-BE49-F238E27FC236}">
                <a16:creationId xmlns:a16="http://schemas.microsoft.com/office/drawing/2014/main" id="{8025777E-EDDB-C247-9BD6-47B4A86D47A2}"/>
              </a:ext>
            </a:extLst>
          </p:cNvPr>
          <p:cNvSpPr>
            <a:spLocks noGrp="1"/>
          </p:cNvSpPr>
          <p:nvPr>
            <p:ph type="body" sz="quarter" idx="15" hasCustomPrompt="1"/>
          </p:nvPr>
        </p:nvSpPr>
        <p:spPr>
          <a:xfrm>
            <a:off x="321169" y="4596480"/>
            <a:ext cx="6535849" cy="400110"/>
          </a:xfrm>
        </p:spPr>
        <p:txBody>
          <a:bodyPr wrap="square">
            <a:spAutoFit/>
          </a:bodyPr>
          <a:lstStyle>
            <a:lvl1pPr algn="l">
              <a:defRPr sz="2000" b="1" i="0" spc="300">
                <a:solidFill>
                  <a:schemeClr val="bg1"/>
                </a:solidFill>
                <a:latin typeface="Myriad Pro" panose="020B0503030403020204" pitchFamily="34" charset="0"/>
                <a:cs typeface="Arial" panose="020B0604020202020204" pitchFamily="34" charset="0"/>
              </a:defRPr>
            </a:lvl1pPr>
            <a:lvl2pPr>
              <a:defRPr/>
            </a:lvl2pPr>
            <a:lvl3pPr>
              <a:defRPr/>
            </a:lvl3pPr>
            <a:lvl4pPr>
              <a:defRPr/>
            </a:lvl4pPr>
            <a:lvl5pPr>
              <a:defRPr/>
            </a:lvl5pPr>
          </a:lstStyle>
          <a:p>
            <a:pPr lvl="0"/>
            <a:r>
              <a:rPr lang="en-US"/>
              <a:t>SUBHEADER</a:t>
            </a:r>
          </a:p>
        </p:txBody>
      </p:sp>
      <p:sp>
        <p:nvSpPr>
          <p:cNvPr id="11" name="Title 2">
            <a:extLst>
              <a:ext uri="{FF2B5EF4-FFF2-40B4-BE49-F238E27FC236}">
                <a16:creationId xmlns:a16="http://schemas.microsoft.com/office/drawing/2014/main" id="{65D3BFB7-05C8-614E-B7FF-C57E04624BFB}"/>
              </a:ext>
            </a:extLst>
          </p:cNvPr>
          <p:cNvSpPr>
            <a:spLocks noGrp="1"/>
          </p:cNvSpPr>
          <p:nvPr>
            <p:ph type="title" hasCustomPrompt="1"/>
          </p:nvPr>
        </p:nvSpPr>
        <p:spPr>
          <a:xfrm>
            <a:off x="321169" y="3745128"/>
            <a:ext cx="7447732" cy="823070"/>
          </a:xfrm>
        </p:spPr>
        <p:txBody>
          <a:bodyPr anchor="b"/>
          <a:lstStyle>
            <a:lvl1pPr algn="l">
              <a:defRPr/>
            </a:lvl1pPr>
          </a:lstStyle>
          <a:p>
            <a:r>
              <a:rPr lang="en-US"/>
              <a:t>Title of Presentation</a:t>
            </a:r>
          </a:p>
        </p:txBody>
      </p:sp>
      <p:pic>
        <p:nvPicPr>
          <p:cNvPr id="13" name="Picture 12">
            <a:extLst>
              <a:ext uri="{FF2B5EF4-FFF2-40B4-BE49-F238E27FC236}">
                <a16:creationId xmlns:a16="http://schemas.microsoft.com/office/drawing/2014/main" id="{FD9CB86A-0427-9244-9310-7C9E9A48D7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288" y="5713738"/>
            <a:ext cx="1364651" cy="710176"/>
          </a:xfrm>
          <a:prstGeom prst="rect">
            <a:avLst/>
          </a:prstGeom>
        </p:spPr>
      </p:pic>
      <p:sp>
        <p:nvSpPr>
          <p:cNvPr id="18" name="Slide Number Placeholder 8">
            <a:extLst>
              <a:ext uri="{FF2B5EF4-FFF2-40B4-BE49-F238E27FC236}">
                <a16:creationId xmlns:a16="http://schemas.microsoft.com/office/drawing/2014/main" id="{AF43DB3E-5BED-FA4C-96D3-BD0513658964}"/>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847974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6" name="Oval 1">
            <a:extLst>
              <a:ext uri="{FF2B5EF4-FFF2-40B4-BE49-F238E27FC236}">
                <a16:creationId xmlns:a16="http://schemas.microsoft.com/office/drawing/2014/main" id="{E0C0CF0E-388E-C649-B18B-7EDEAACCCB7A}"/>
              </a:ext>
            </a:extLst>
          </p:cNvPr>
          <p:cNvSpPr/>
          <p:nvPr userDrawn="1"/>
        </p:nvSpPr>
        <p:spPr>
          <a:xfrm>
            <a:off x="2336775" y="337580"/>
            <a:ext cx="7518446" cy="6182840"/>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tx2"/>
          </a:solidFill>
          <a:ln>
            <a:noFill/>
          </a:ln>
          <a:effectLst>
            <a:outerShdw blurRad="1905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9943368"/>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7" name="Freeform 6">
            <a:extLst>
              <a:ext uri="{FF2B5EF4-FFF2-40B4-BE49-F238E27FC236}">
                <a16:creationId xmlns:a16="http://schemas.microsoft.com/office/drawing/2014/main" id="{26ECB5F2-9BB0-2E4E-87A3-FAFD0DE1D09C}"/>
              </a:ext>
            </a:extLst>
          </p:cNvPr>
          <p:cNvSpPr/>
          <p:nvPr userDrawn="1"/>
        </p:nvSpPr>
        <p:spPr>
          <a:xfrm rot="5400000">
            <a:off x="6753682" y="-1215337"/>
            <a:ext cx="4222981" cy="6653655"/>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3655">
                <a:moveTo>
                  <a:pt x="0" y="6641969"/>
                </a:moveTo>
                <a:lnTo>
                  <a:pt x="0" y="0"/>
                </a:lnTo>
                <a:lnTo>
                  <a:pt x="4222981" y="0"/>
                </a:lnTo>
                <a:lnTo>
                  <a:pt x="4222587" y="2489"/>
                </a:lnTo>
                <a:cubicBezTo>
                  <a:pt x="4111473" y="121505"/>
                  <a:pt x="1505636" y="642868"/>
                  <a:pt x="1157575" y="2441411"/>
                </a:cubicBezTo>
                <a:cubicBezTo>
                  <a:pt x="770840" y="4439792"/>
                  <a:pt x="327713" y="6695074"/>
                  <a:pt x="27461" y="6653078"/>
                </a:cubicBezTo>
                <a:lnTo>
                  <a:pt x="0" y="6641969"/>
                </a:ln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7">
            <a:extLst>
              <a:ext uri="{FF2B5EF4-FFF2-40B4-BE49-F238E27FC236}">
                <a16:creationId xmlns:a16="http://schemas.microsoft.com/office/drawing/2014/main" id="{272092CE-C3FA-CE43-A989-0E9BEE9F811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
        <p:nvSpPr>
          <p:cNvPr id="11" name="Freeform 10">
            <a:extLst>
              <a:ext uri="{FF2B5EF4-FFF2-40B4-BE49-F238E27FC236}">
                <a16:creationId xmlns:a16="http://schemas.microsoft.com/office/drawing/2014/main" id="{D6689754-BACC-8B47-94E6-79A58B537801}"/>
              </a:ext>
            </a:extLst>
          </p:cNvPr>
          <p:cNvSpPr/>
          <p:nvPr userDrawn="1"/>
        </p:nvSpPr>
        <p:spPr>
          <a:xfrm rot="16200000">
            <a:off x="1670795" y="3027327"/>
            <a:ext cx="2159876" cy="5501467"/>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472886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449"/>
              <a:gd name="connsiteX1" fmla="*/ 0 w 4222981"/>
              <a:gd name="connsiteY1" fmla="*/ 0 h 6653449"/>
              <a:gd name="connsiteX2" fmla="*/ 4222981 w 4222981"/>
              <a:gd name="connsiteY2" fmla="*/ 0 h 6653449"/>
              <a:gd name="connsiteX3" fmla="*/ 4222587 w 4222981"/>
              <a:gd name="connsiteY3" fmla="*/ 2489 h 6653449"/>
              <a:gd name="connsiteX4" fmla="*/ 1472886 w 4222981"/>
              <a:gd name="connsiteY4" fmla="*/ 2441411 h 6653449"/>
              <a:gd name="connsiteX5" fmla="*/ 27461 w 4222981"/>
              <a:gd name="connsiteY5" fmla="*/ 6653078 h 6653449"/>
              <a:gd name="connsiteX6" fmla="*/ 0 w 4222981"/>
              <a:gd name="connsiteY6" fmla="*/ 6641969 h 6653449"/>
              <a:gd name="connsiteX0" fmla="*/ 0 w 4222981"/>
              <a:gd name="connsiteY0" fmla="*/ 6641969 h 6653736"/>
              <a:gd name="connsiteX1" fmla="*/ 0 w 4222981"/>
              <a:gd name="connsiteY1" fmla="*/ 0 h 6653736"/>
              <a:gd name="connsiteX2" fmla="*/ 4222981 w 4222981"/>
              <a:gd name="connsiteY2" fmla="*/ 0 h 6653736"/>
              <a:gd name="connsiteX3" fmla="*/ 4222587 w 4222981"/>
              <a:gd name="connsiteY3" fmla="*/ 2489 h 6653736"/>
              <a:gd name="connsiteX4" fmla="*/ 1472886 w 4222981"/>
              <a:gd name="connsiteY4" fmla="*/ 2441411 h 6653736"/>
              <a:gd name="connsiteX5" fmla="*/ 27461 w 4222981"/>
              <a:gd name="connsiteY5" fmla="*/ 6653078 h 6653736"/>
              <a:gd name="connsiteX6" fmla="*/ 0 w 4222981"/>
              <a:gd name="connsiteY6" fmla="*/ 6641969 h 6653736"/>
              <a:gd name="connsiteX0" fmla="*/ 0 w 4222981"/>
              <a:gd name="connsiteY0" fmla="*/ 6641969 h 6653752"/>
              <a:gd name="connsiteX1" fmla="*/ 0 w 4222981"/>
              <a:gd name="connsiteY1" fmla="*/ 0 h 6653752"/>
              <a:gd name="connsiteX2" fmla="*/ 4222981 w 4222981"/>
              <a:gd name="connsiteY2" fmla="*/ 0 h 6653752"/>
              <a:gd name="connsiteX3" fmla="*/ 4222587 w 4222981"/>
              <a:gd name="connsiteY3" fmla="*/ 2489 h 6653752"/>
              <a:gd name="connsiteX4" fmla="*/ 731907 w 4222981"/>
              <a:gd name="connsiteY4" fmla="*/ 2488711 h 6653752"/>
              <a:gd name="connsiteX5" fmla="*/ 27461 w 4222981"/>
              <a:gd name="connsiteY5" fmla="*/ 6653078 h 6653752"/>
              <a:gd name="connsiteX6" fmla="*/ 0 w 4222981"/>
              <a:gd name="connsiteY6" fmla="*/ 6641969 h 6653752"/>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888"/>
              <a:gd name="connsiteX1" fmla="*/ 0 w 4222981"/>
              <a:gd name="connsiteY1" fmla="*/ 0 h 6653888"/>
              <a:gd name="connsiteX2" fmla="*/ 4222981 w 4222981"/>
              <a:gd name="connsiteY2" fmla="*/ 0 h 6653888"/>
              <a:gd name="connsiteX3" fmla="*/ 4222587 w 4222981"/>
              <a:gd name="connsiteY3" fmla="*/ 2489 h 6653888"/>
              <a:gd name="connsiteX4" fmla="*/ 1851255 w 4222981"/>
              <a:gd name="connsiteY4" fmla="*/ 2819790 h 6653888"/>
              <a:gd name="connsiteX5" fmla="*/ 27461 w 4222981"/>
              <a:gd name="connsiteY5" fmla="*/ 6653078 h 6653888"/>
              <a:gd name="connsiteX6" fmla="*/ 0 w 4222981"/>
              <a:gd name="connsiteY6" fmla="*/ 6641969 h 6653888"/>
              <a:gd name="connsiteX0" fmla="*/ 0 w 4222981"/>
              <a:gd name="connsiteY0" fmla="*/ 6641969 h 6653764"/>
              <a:gd name="connsiteX1" fmla="*/ 0 w 4222981"/>
              <a:gd name="connsiteY1" fmla="*/ 0 h 6653764"/>
              <a:gd name="connsiteX2" fmla="*/ 4222981 w 4222981"/>
              <a:gd name="connsiteY2" fmla="*/ 0 h 6653764"/>
              <a:gd name="connsiteX3" fmla="*/ 4222587 w 4222981"/>
              <a:gd name="connsiteY3" fmla="*/ 2489 h 6653764"/>
              <a:gd name="connsiteX4" fmla="*/ 1851255 w 4222981"/>
              <a:gd name="connsiteY4" fmla="*/ 2819790 h 6653764"/>
              <a:gd name="connsiteX5" fmla="*/ 27461 w 4222981"/>
              <a:gd name="connsiteY5" fmla="*/ 6653078 h 6653764"/>
              <a:gd name="connsiteX6" fmla="*/ 0 w 4222981"/>
              <a:gd name="connsiteY6" fmla="*/ 6641969 h 6653764"/>
              <a:gd name="connsiteX0" fmla="*/ 0 w 4299406"/>
              <a:gd name="connsiteY0" fmla="*/ 6641969 h 6656543"/>
              <a:gd name="connsiteX1" fmla="*/ 0 w 4299406"/>
              <a:gd name="connsiteY1" fmla="*/ 0 h 6656543"/>
              <a:gd name="connsiteX2" fmla="*/ 4222981 w 4299406"/>
              <a:gd name="connsiteY2" fmla="*/ 0 h 6656543"/>
              <a:gd name="connsiteX3" fmla="*/ 4222587 w 4299406"/>
              <a:gd name="connsiteY3" fmla="*/ 2489 h 6656543"/>
              <a:gd name="connsiteX4" fmla="*/ 3569697 w 4299406"/>
              <a:gd name="connsiteY4" fmla="*/ 4396345 h 6656543"/>
              <a:gd name="connsiteX5" fmla="*/ 27461 w 4299406"/>
              <a:gd name="connsiteY5" fmla="*/ 6653078 h 6656543"/>
              <a:gd name="connsiteX6" fmla="*/ 0 w 4299406"/>
              <a:gd name="connsiteY6" fmla="*/ 6641969 h 6656543"/>
              <a:gd name="connsiteX0" fmla="*/ 0 w 4657712"/>
              <a:gd name="connsiteY0" fmla="*/ 6641969 h 6654473"/>
              <a:gd name="connsiteX1" fmla="*/ 0 w 4657712"/>
              <a:gd name="connsiteY1" fmla="*/ 0 h 6654473"/>
              <a:gd name="connsiteX2" fmla="*/ 4222981 w 4657712"/>
              <a:gd name="connsiteY2" fmla="*/ 0 h 6654473"/>
              <a:gd name="connsiteX3" fmla="*/ 4222587 w 4657712"/>
              <a:gd name="connsiteY3" fmla="*/ 2489 h 6654473"/>
              <a:gd name="connsiteX4" fmla="*/ 3569697 w 4657712"/>
              <a:gd name="connsiteY4" fmla="*/ 4396345 h 6654473"/>
              <a:gd name="connsiteX5" fmla="*/ 27461 w 4657712"/>
              <a:gd name="connsiteY5" fmla="*/ 6653078 h 6654473"/>
              <a:gd name="connsiteX6" fmla="*/ 0 w 4657712"/>
              <a:gd name="connsiteY6" fmla="*/ 6641969 h 6654473"/>
              <a:gd name="connsiteX0" fmla="*/ 0 w 4222981"/>
              <a:gd name="connsiteY0" fmla="*/ 6641969 h 6698646"/>
              <a:gd name="connsiteX1" fmla="*/ 0 w 4222981"/>
              <a:gd name="connsiteY1" fmla="*/ 0 h 6698646"/>
              <a:gd name="connsiteX2" fmla="*/ 4222981 w 4222981"/>
              <a:gd name="connsiteY2" fmla="*/ 0 h 6698646"/>
              <a:gd name="connsiteX3" fmla="*/ 4222587 w 4222981"/>
              <a:gd name="connsiteY3" fmla="*/ 2489 h 6698646"/>
              <a:gd name="connsiteX4" fmla="*/ 3569697 w 4222981"/>
              <a:gd name="connsiteY4" fmla="*/ 4396345 h 6698646"/>
              <a:gd name="connsiteX5" fmla="*/ 27461 w 4222981"/>
              <a:gd name="connsiteY5" fmla="*/ 6653078 h 6698646"/>
              <a:gd name="connsiteX6" fmla="*/ 0 w 4222981"/>
              <a:gd name="connsiteY6" fmla="*/ 6641969 h 6698646"/>
              <a:gd name="connsiteX0" fmla="*/ 0 w 4222981"/>
              <a:gd name="connsiteY0" fmla="*/ 6641969 h 6655394"/>
              <a:gd name="connsiteX1" fmla="*/ 0 w 4222981"/>
              <a:gd name="connsiteY1" fmla="*/ 0 h 6655394"/>
              <a:gd name="connsiteX2" fmla="*/ 4222981 w 4222981"/>
              <a:gd name="connsiteY2" fmla="*/ 0 h 6655394"/>
              <a:gd name="connsiteX3" fmla="*/ 4222587 w 4222981"/>
              <a:gd name="connsiteY3" fmla="*/ 2489 h 6655394"/>
              <a:gd name="connsiteX4" fmla="*/ 3014847 w 4222981"/>
              <a:gd name="connsiteY4" fmla="*/ 3481060 h 6655394"/>
              <a:gd name="connsiteX5" fmla="*/ 27461 w 4222981"/>
              <a:gd name="connsiteY5" fmla="*/ 6653078 h 6655394"/>
              <a:gd name="connsiteX6" fmla="*/ 0 w 4222981"/>
              <a:gd name="connsiteY6" fmla="*/ 6641969 h 6655394"/>
              <a:gd name="connsiteX0" fmla="*/ 0 w 4222981"/>
              <a:gd name="connsiteY0" fmla="*/ 6641969 h 6654237"/>
              <a:gd name="connsiteX1" fmla="*/ 0 w 4222981"/>
              <a:gd name="connsiteY1" fmla="*/ 0 h 6654237"/>
              <a:gd name="connsiteX2" fmla="*/ 4222981 w 4222981"/>
              <a:gd name="connsiteY2" fmla="*/ 0 h 6654237"/>
              <a:gd name="connsiteX3" fmla="*/ 4222587 w 4222981"/>
              <a:gd name="connsiteY3" fmla="*/ 2489 h 6654237"/>
              <a:gd name="connsiteX4" fmla="*/ 3014847 w 4222981"/>
              <a:gd name="connsiteY4" fmla="*/ 3481060 h 6654237"/>
              <a:gd name="connsiteX5" fmla="*/ 27461 w 4222981"/>
              <a:gd name="connsiteY5" fmla="*/ 6653078 h 6654237"/>
              <a:gd name="connsiteX6" fmla="*/ 0 w 4222981"/>
              <a:gd name="connsiteY6" fmla="*/ 6641969 h 6654237"/>
              <a:gd name="connsiteX0" fmla="*/ 0 w 4222981"/>
              <a:gd name="connsiteY0" fmla="*/ 6641969 h 6654045"/>
              <a:gd name="connsiteX1" fmla="*/ 0 w 4222981"/>
              <a:gd name="connsiteY1" fmla="*/ 0 h 6654045"/>
              <a:gd name="connsiteX2" fmla="*/ 4222981 w 4222981"/>
              <a:gd name="connsiteY2" fmla="*/ 0 h 6654045"/>
              <a:gd name="connsiteX3" fmla="*/ 4222587 w 4222981"/>
              <a:gd name="connsiteY3" fmla="*/ 2489 h 6654045"/>
              <a:gd name="connsiteX4" fmla="*/ 3014847 w 4222981"/>
              <a:gd name="connsiteY4" fmla="*/ 3481060 h 6654045"/>
              <a:gd name="connsiteX5" fmla="*/ 27461 w 4222981"/>
              <a:gd name="connsiteY5" fmla="*/ 6653078 h 6654045"/>
              <a:gd name="connsiteX6" fmla="*/ 0 w 4222981"/>
              <a:gd name="connsiteY6" fmla="*/ 6641969 h 665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2981" h="6654045">
                <a:moveTo>
                  <a:pt x="0" y="6641969"/>
                </a:moveTo>
                <a:lnTo>
                  <a:pt x="0" y="0"/>
                </a:lnTo>
                <a:lnTo>
                  <a:pt x="4222981" y="0"/>
                </a:lnTo>
                <a:cubicBezTo>
                  <a:pt x="4222850" y="830"/>
                  <a:pt x="4222718" y="1659"/>
                  <a:pt x="4222587" y="2489"/>
                </a:cubicBezTo>
                <a:cubicBezTo>
                  <a:pt x="4111473" y="121505"/>
                  <a:pt x="2662883" y="1226085"/>
                  <a:pt x="3014847" y="3481060"/>
                </a:cubicBezTo>
                <a:cubicBezTo>
                  <a:pt x="3309079" y="5366158"/>
                  <a:pt x="327713" y="6695074"/>
                  <a:pt x="27461" y="6653078"/>
                </a:cubicBezTo>
                <a:lnTo>
                  <a:pt x="0" y="6641969"/>
                </a:ln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06665188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2"/>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437559F-67C8-1643-8694-3CCFC05067A3}"/>
              </a:ext>
            </a:extLst>
          </p:cNvPr>
          <p:cNvSpPr txBox="1">
            <a:spLocks noGrp="1" noChangeArrowheads="1"/>
          </p:cNvSpPr>
          <p:nvPr>
            <p:ph type="sldNum" sz="quarter" idx="14"/>
          </p:nvPr>
        </p:nvSpPr>
        <p:spPr>
          <a:xfrm>
            <a:off x="23215600" y="3337597"/>
            <a:ext cx="180482" cy="182806"/>
          </a:xfrm>
          <a:prstGeom prst="rect">
            <a:avLst/>
          </a:prstGeom>
        </p:spPr>
        <p:txBody>
          <a:bodyPr/>
          <a:lstStyle>
            <a:lvl1pPr>
              <a:defRPr/>
            </a:lvl1pPr>
          </a:lstStyle>
          <a:p>
            <a:fld id="{682AF141-3515-6B43-B29D-C3CB43CA3F9D}" type="slidenum">
              <a:rPr lang="en-US" altLang="en-US"/>
              <a:pPr/>
              <a:t>‹N°›</a:t>
            </a:fld>
            <a:endParaRPr lang="en-US" altLang="en-US" dirty="0"/>
          </a:p>
        </p:txBody>
      </p:sp>
      <p:pic>
        <p:nvPicPr>
          <p:cNvPr id="10" name="Picture 9">
            <a:extLst>
              <a:ext uri="{FF2B5EF4-FFF2-40B4-BE49-F238E27FC236}">
                <a16:creationId xmlns:a16="http://schemas.microsoft.com/office/drawing/2014/main" id="{16706C9D-5058-BF44-981D-5A937E928F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14" name="Slide Number Placeholder 8">
            <a:extLst>
              <a:ext uri="{FF2B5EF4-FFF2-40B4-BE49-F238E27FC236}">
                <a16:creationId xmlns:a16="http://schemas.microsoft.com/office/drawing/2014/main" id="{91075834-93C2-9647-9325-A272A41A093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Sysco 2021  |  </a:t>
            </a:r>
            <a:fld id="{9F9D41EE-D4DD-3A44-AD6F-DC82B5908678}" type="slidenum">
              <a:rPr lang="en-US" smtClean="0"/>
              <a:pPr/>
              <a:t>‹N°›</a:t>
            </a:fld>
            <a:endParaRPr lang="en-US" dirty="0"/>
          </a:p>
        </p:txBody>
      </p:sp>
      <p:sp>
        <p:nvSpPr>
          <p:cNvPr id="12" name="Freeform 11">
            <a:extLst>
              <a:ext uri="{FF2B5EF4-FFF2-40B4-BE49-F238E27FC236}">
                <a16:creationId xmlns:a16="http://schemas.microsoft.com/office/drawing/2014/main" id="{21876505-A50F-2445-83D4-A41564D89C2F}"/>
              </a:ext>
            </a:extLst>
          </p:cNvPr>
          <p:cNvSpPr/>
          <p:nvPr userDrawn="1"/>
        </p:nvSpPr>
        <p:spPr>
          <a:xfrm rot="5400000">
            <a:off x="6759525" y="-120949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35272 w 4222981"/>
              <a:gd name="connsiteY4" fmla="*/ 1694280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889945 w 4222981"/>
              <a:gd name="connsiteY4" fmla="*/ 1928456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627162" y="461320"/>
                  <a:pt x="889945" y="1928456"/>
                </a:cubicBezTo>
                <a:cubicBezTo>
                  <a:pt x="152728" y="3395592"/>
                  <a:pt x="3358" y="6636279"/>
                  <a:pt x="0" y="6641969"/>
                </a:cubicBezTo>
                <a:close/>
              </a:path>
            </a:pathLst>
          </a:custGeom>
          <a:solidFill>
            <a:schemeClr val="bg2"/>
          </a:solidFill>
          <a:ln>
            <a:noFill/>
          </a:ln>
          <a:effectLst>
            <a:outerShdw blurRad="127000" dist="38100" dir="5400000" algn="ctr"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12">
            <a:extLst>
              <a:ext uri="{FF2B5EF4-FFF2-40B4-BE49-F238E27FC236}">
                <a16:creationId xmlns:a16="http://schemas.microsoft.com/office/drawing/2014/main" id="{2D4C16B1-6A35-E948-B1D0-5F2752C8677B}"/>
              </a:ext>
            </a:extLst>
          </p:cNvPr>
          <p:cNvSpPr/>
          <p:nvPr userDrawn="1"/>
        </p:nvSpPr>
        <p:spPr>
          <a:xfrm rot="16200000">
            <a:off x="1209493" y="1425524"/>
            <a:ext cx="4222981" cy="6641969"/>
          </a:xfrm>
          <a:custGeom>
            <a:avLst/>
            <a:gdLst>
              <a:gd name="connsiteX0" fmla="*/ 0 w 4222981"/>
              <a:gd name="connsiteY0" fmla="*/ 6641969 h 6653655"/>
              <a:gd name="connsiteX1" fmla="*/ 0 w 4222981"/>
              <a:gd name="connsiteY1" fmla="*/ 0 h 6653655"/>
              <a:gd name="connsiteX2" fmla="*/ 4222981 w 4222981"/>
              <a:gd name="connsiteY2" fmla="*/ 0 h 6653655"/>
              <a:gd name="connsiteX3" fmla="*/ 4222587 w 4222981"/>
              <a:gd name="connsiteY3" fmla="*/ 2489 h 6653655"/>
              <a:gd name="connsiteX4" fmla="*/ 1157575 w 4222981"/>
              <a:gd name="connsiteY4" fmla="*/ 2441411 h 6653655"/>
              <a:gd name="connsiteX5" fmla="*/ 27461 w 4222981"/>
              <a:gd name="connsiteY5" fmla="*/ 6653078 h 6653655"/>
              <a:gd name="connsiteX6" fmla="*/ 0 w 4222981"/>
              <a:gd name="connsiteY6" fmla="*/ 6641969 h 6653655"/>
              <a:gd name="connsiteX0" fmla="*/ 0 w 4222981"/>
              <a:gd name="connsiteY0" fmla="*/ 6641969 h 6674696"/>
              <a:gd name="connsiteX1" fmla="*/ 0 w 4222981"/>
              <a:gd name="connsiteY1" fmla="*/ 0 h 6674696"/>
              <a:gd name="connsiteX2" fmla="*/ 4222981 w 4222981"/>
              <a:gd name="connsiteY2" fmla="*/ 0 h 6674696"/>
              <a:gd name="connsiteX3" fmla="*/ 4222587 w 4222981"/>
              <a:gd name="connsiteY3" fmla="*/ 2489 h 6674696"/>
              <a:gd name="connsiteX4" fmla="*/ 1157575 w 4222981"/>
              <a:gd name="connsiteY4" fmla="*/ 2441411 h 6674696"/>
              <a:gd name="connsiteX5" fmla="*/ 0 w 4222981"/>
              <a:gd name="connsiteY5" fmla="*/ 6641969 h 6674696"/>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157575 w 4222981"/>
              <a:gd name="connsiteY4" fmla="*/ 2441411 h 6641969"/>
              <a:gd name="connsiteX5" fmla="*/ 0 w 4222981"/>
              <a:gd name="connsiteY5" fmla="*/ 6641969 h 6641969"/>
              <a:gd name="connsiteX0" fmla="*/ 0 w 4222981"/>
              <a:gd name="connsiteY0" fmla="*/ 6641969 h 6641969"/>
              <a:gd name="connsiteX1" fmla="*/ 0 w 4222981"/>
              <a:gd name="connsiteY1" fmla="*/ 0 h 6641969"/>
              <a:gd name="connsiteX2" fmla="*/ 4222981 w 4222981"/>
              <a:gd name="connsiteY2" fmla="*/ 0 h 6641969"/>
              <a:gd name="connsiteX3" fmla="*/ 4222587 w 4222981"/>
              <a:gd name="connsiteY3" fmla="*/ 2489 h 6641969"/>
              <a:gd name="connsiteX4" fmla="*/ 1090668 w 4222981"/>
              <a:gd name="connsiteY4" fmla="*/ 1895002 h 6641969"/>
              <a:gd name="connsiteX5" fmla="*/ 0 w 4222981"/>
              <a:gd name="connsiteY5" fmla="*/ 6641969 h 66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2981" h="6641969">
                <a:moveTo>
                  <a:pt x="0" y="6641969"/>
                </a:moveTo>
                <a:lnTo>
                  <a:pt x="0" y="0"/>
                </a:lnTo>
                <a:lnTo>
                  <a:pt x="4222981" y="0"/>
                </a:lnTo>
                <a:cubicBezTo>
                  <a:pt x="4222850" y="830"/>
                  <a:pt x="4222718" y="1659"/>
                  <a:pt x="4222587" y="2489"/>
                </a:cubicBezTo>
                <a:cubicBezTo>
                  <a:pt x="4111473" y="121505"/>
                  <a:pt x="1995154" y="327505"/>
                  <a:pt x="1090668" y="1895002"/>
                </a:cubicBezTo>
                <a:cubicBezTo>
                  <a:pt x="186182" y="3462499"/>
                  <a:pt x="3358" y="6636279"/>
                  <a:pt x="0" y="6641969"/>
                </a:cubicBezTo>
                <a:close/>
              </a:path>
            </a:pathLst>
          </a:custGeom>
          <a:solidFill>
            <a:schemeClr val="bg2"/>
          </a:solidFill>
          <a:ln>
            <a:noFill/>
          </a:ln>
          <a:effectLst>
            <a:outerShdw blurRad="127000" dist="38100" dir="18900000" algn="b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5" name="Picture 14">
            <a:extLst>
              <a:ext uri="{FF2B5EF4-FFF2-40B4-BE49-F238E27FC236}">
                <a16:creationId xmlns:a16="http://schemas.microsoft.com/office/drawing/2014/main" id="{F69E40D1-555B-2B47-8F7B-80AFF38536B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13345" y="365125"/>
            <a:ext cx="1250955" cy="479533"/>
          </a:xfrm>
          <a:prstGeom prst="rect">
            <a:avLst/>
          </a:prstGeom>
        </p:spPr>
      </p:pic>
    </p:spTree>
    <p:extLst>
      <p:ext uri="{BB962C8B-B14F-4D97-AF65-F5344CB8AC3E}">
        <p14:creationId xmlns:p14="http://schemas.microsoft.com/office/powerpoint/2010/main" val="3087630218"/>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xtra Shapes + Graphics">
    <p:spTree>
      <p:nvGrpSpPr>
        <p:cNvPr id="1" name=""/>
        <p:cNvGrpSpPr/>
        <p:nvPr/>
      </p:nvGrpSpPr>
      <p:grpSpPr>
        <a:xfrm>
          <a:off x="0" y="0"/>
          <a:ext cx="0" cy="0"/>
          <a:chOff x="0" y="0"/>
          <a:chExt cx="0" cy="0"/>
        </a:xfrm>
      </p:grpSpPr>
      <p:sp>
        <p:nvSpPr>
          <p:cNvPr id="28" name="Oval 6">
            <a:extLst>
              <a:ext uri="{FF2B5EF4-FFF2-40B4-BE49-F238E27FC236}">
                <a16:creationId xmlns:a16="http://schemas.microsoft.com/office/drawing/2014/main" id="{89E5977D-FE2F-514C-ADCD-3FE383D19256}"/>
              </a:ext>
            </a:extLst>
          </p:cNvPr>
          <p:cNvSpPr/>
          <p:nvPr userDrawn="1"/>
        </p:nvSpPr>
        <p:spPr>
          <a:xfrm>
            <a:off x="5180332" y="900258"/>
            <a:ext cx="1872588" cy="1658164"/>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647 w 8905744"/>
              <a:gd name="connsiteY0" fmla="*/ 3720686 h 7653623"/>
              <a:gd name="connsiteX1" fmla="*/ 4336998 w 8905744"/>
              <a:gd name="connsiteY1" fmla="*/ 6980 h 7653623"/>
              <a:gd name="connsiteX2" fmla="*/ 8865959 w 8905744"/>
              <a:gd name="connsiteY2" fmla="*/ 4178468 h 7653623"/>
              <a:gd name="connsiteX3" fmla="*/ 4282407 w 8905744"/>
              <a:gd name="connsiteY3" fmla="*/ 7645633 h 7653623"/>
              <a:gd name="connsiteX4" fmla="*/ 647 w 8905744"/>
              <a:gd name="connsiteY4" fmla="*/ 3720686 h 7653623"/>
              <a:gd name="connsiteX0" fmla="*/ 647 w 8905744"/>
              <a:gd name="connsiteY0" fmla="*/ 3720686 h 7653623"/>
              <a:gd name="connsiteX1" fmla="*/ 4336998 w 8905744"/>
              <a:gd name="connsiteY1" fmla="*/ 6980 h 7653623"/>
              <a:gd name="connsiteX2" fmla="*/ 8865959 w 8905744"/>
              <a:gd name="connsiteY2" fmla="*/ 4178468 h 7653623"/>
              <a:gd name="connsiteX3" fmla="*/ 4282407 w 8905744"/>
              <a:gd name="connsiteY3" fmla="*/ 7645633 h 7653623"/>
              <a:gd name="connsiteX4" fmla="*/ 647 w 8905744"/>
              <a:gd name="connsiteY4" fmla="*/ 3720686 h 7653623"/>
              <a:gd name="connsiteX0" fmla="*/ 647 w 8866071"/>
              <a:gd name="connsiteY0" fmla="*/ 3720686 h 7695529"/>
              <a:gd name="connsiteX1" fmla="*/ 4336998 w 8866071"/>
              <a:gd name="connsiteY1" fmla="*/ 6980 h 7695529"/>
              <a:gd name="connsiteX2" fmla="*/ 8865959 w 8866071"/>
              <a:gd name="connsiteY2" fmla="*/ 4178468 h 7695529"/>
              <a:gd name="connsiteX3" fmla="*/ 4282407 w 8866071"/>
              <a:gd name="connsiteY3" fmla="*/ 7645633 h 7695529"/>
              <a:gd name="connsiteX4" fmla="*/ 647 w 8866071"/>
              <a:gd name="connsiteY4" fmla="*/ 3720686 h 7695529"/>
              <a:gd name="connsiteX0" fmla="*/ 11393 w 8883840"/>
              <a:gd name="connsiteY0" fmla="*/ 3715402 h 7642227"/>
              <a:gd name="connsiteX1" fmla="*/ 4347744 w 8883840"/>
              <a:gd name="connsiteY1" fmla="*/ 1696 h 7642227"/>
              <a:gd name="connsiteX2" fmla="*/ 8876705 w 8883840"/>
              <a:gd name="connsiteY2" fmla="*/ 4173184 h 7642227"/>
              <a:gd name="connsiteX3" fmla="*/ 3274561 w 8883840"/>
              <a:gd name="connsiteY3" fmla="*/ 7640351 h 7642227"/>
              <a:gd name="connsiteX4" fmla="*/ 11393 w 8883840"/>
              <a:gd name="connsiteY4" fmla="*/ 3715402 h 7642227"/>
              <a:gd name="connsiteX0" fmla="*/ 57268 w 8929715"/>
              <a:gd name="connsiteY0" fmla="*/ 3715402 h 7912219"/>
              <a:gd name="connsiteX1" fmla="*/ 4393619 w 8929715"/>
              <a:gd name="connsiteY1" fmla="*/ 1696 h 7912219"/>
              <a:gd name="connsiteX2" fmla="*/ 8922580 w 8929715"/>
              <a:gd name="connsiteY2" fmla="*/ 4173184 h 7912219"/>
              <a:gd name="connsiteX3" fmla="*/ 3320436 w 8929715"/>
              <a:gd name="connsiteY3" fmla="*/ 7640351 h 7912219"/>
              <a:gd name="connsiteX4" fmla="*/ 57268 w 8929715"/>
              <a:gd name="connsiteY4" fmla="*/ 3715402 h 7912219"/>
              <a:gd name="connsiteX0" fmla="*/ 57268 w 8922847"/>
              <a:gd name="connsiteY0" fmla="*/ 3715402 h 8013967"/>
              <a:gd name="connsiteX1" fmla="*/ 4393619 w 8922847"/>
              <a:gd name="connsiteY1" fmla="*/ 1696 h 8013967"/>
              <a:gd name="connsiteX2" fmla="*/ 8922580 w 8922847"/>
              <a:gd name="connsiteY2" fmla="*/ 4173184 h 8013967"/>
              <a:gd name="connsiteX3" fmla="*/ 3320436 w 8922847"/>
              <a:gd name="connsiteY3" fmla="*/ 7640351 h 8013967"/>
              <a:gd name="connsiteX4" fmla="*/ 57268 w 8922847"/>
              <a:gd name="connsiteY4" fmla="*/ 3715402 h 8013967"/>
              <a:gd name="connsiteX0" fmla="*/ 3089 w 8868668"/>
              <a:gd name="connsiteY0" fmla="*/ 3717175 h 8015740"/>
              <a:gd name="connsiteX1" fmla="*/ 4339440 w 8868668"/>
              <a:gd name="connsiteY1" fmla="*/ 3469 h 8015740"/>
              <a:gd name="connsiteX2" fmla="*/ 8868401 w 8868668"/>
              <a:gd name="connsiteY2" fmla="*/ 4174957 h 8015740"/>
              <a:gd name="connsiteX3" fmla="*/ 3266257 w 8868668"/>
              <a:gd name="connsiteY3" fmla="*/ 7642124 h 8015740"/>
              <a:gd name="connsiteX4" fmla="*/ 3089 w 8868668"/>
              <a:gd name="connsiteY4" fmla="*/ 3717175 h 8015740"/>
              <a:gd name="connsiteX0" fmla="*/ 4680 w 8870396"/>
              <a:gd name="connsiteY0" fmla="*/ 3714629 h 8013194"/>
              <a:gd name="connsiteX1" fmla="*/ 4341031 w 8870396"/>
              <a:gd name="connsiteY1" fmla="*/ 923 h 8013194"/>
              <a:gd name="connsiteX2" fmla="*/ 8869992 w 8870396"/>
              <a:gd name="connsiteY2" fmla="*/ 4172411 h 8013194"/>
              <a:gd name="connsiteX3" fmla="*/ 3267848 w 8870396"/>
              <a:gd name="connsiteY3" fmla="*/ 7639578 h 8013194"/>
              <a:gd name="connsiteX4" fmla="*/ 4680 w 8870396"/>
              <a:gd name="connsiteY4" fmla="*/ 3714629 h 8013194"/>
              <a:gd name="connsiteX0" fmla="*/ 5802 w 8871617"/>
              <a:gd name="connsiteY0" fmla="*/ 3717175 h 8015740"/>
              <a:gd name="connsiteX1" fmla="*/ 4342153 w 8871617"/>
              <a:gd name="connsiteY1" fmla="*/ 3469 h 8015740"/>
              <a:gd name="connsiteX2" fmla="*/ 8871114 w 8871617"/>
              <a:gd name="connsiteY2" fmla="*/ 4174957 h 8015740"/>
              <a:gd name="connsiteX3" fmla="*/ 3268970 w 8871617"/>
              <a:gd name="connsiteY3" fmla="*/ 7642124 h 8015740"/>
              <a:gd name="connsiteX4" fmla="*/ 5802 w 8871617"/>
              <a:gd name="connsiteY4" fmla="*/ 3717175 h 8015740"/>
              <a:gd name="connsiteX0" fmla="*/ 122840 w 8988655"/>
              <a:gd name="connsiteY0" fmla="*/ 3723976 h 8022541"/>
              <a:gd name="connsiteX1" fmla="*/ 4459191 w 8988655"/>
              <a:gd name="connsiteY1" fmla="*/ 10270 h 8022541"/>
              <a:gd name="connsiteX2" fmla="*/ 8988152 w 8988655"/>
              <a:gd name="connsiteY2" fmla="*/ 4181758 h 8022541"/>
              <a:gd name="connsiteX3" fmla="*/ 3386008 w 8988655"/>
              <a:gd name="connsiteY3" fmla="*/ 7648925 h 8022541"/>
              <a:gd name="connsiteX4" fmla="*/ 122840 w 8988655"/>
              <a:gd name="connsiteY4" fmla="*/ 3723976 h 8022541"/>
              <a:gd name="connsiteX0" fmla="*/ 74375 w 9376495"/>
              <a:gd name="connsiteY0" fmla="*/ 3833396 h 7646364"/>
              <a:gd name="connsiteX1" fmla="*/ 4847261 w 9376495"/>
              <a:gd name="connsiteY1" fmla="*/ 5202 h 7646364"/>
              <a:gd name="connsiteX2" fmla="*/ 9376222 w 9376495"/>
              <a:gd name="connsiteY2" fmla="*/ 4176690 h 7646364"/>
              <a:gd name="connsiteX3" fmla="*/ 3774078 w 9376495"/>
              <a:gd name="connsiteY3" fmla="*/ 7643857 h 7646364"/>
              <a:gd name="connsiteX4" fmla="*/ 74375 w 9376495"/>
              <a:gd name="connsiteY4" fmla="*/ 3833396 h 7646364"/>
              <a:gd name="connsiteX0" fmla="*/ 74375 w 9376495"/>
              <a:gd name="connsiteY0" fmla="*/ 3833396 h 7667575"/>
              <a:gd name="connsiteX1" fmla="*/ 4847261 w 9376495"/>
              <a:gd name="connsiteY1" fmla="*/ 5202 h 7667575"/>
              <a:gd name="connsiteX2" fmla="*/ 9376222 w 9376495"/>
              <a:gd name="connsiteY2" fmla="*/ 4176690 h 7667575"/>
              <a:gd name="connsiteX3" fmla="*/ 3774078 w 9376495"/>
              <a:gd name="connsiteY3" fmla="*/ 7643857 h 7667575"/>
              <a:gd name="connsiteX4" fmla="*/ 74375 w 9376495"/>
              <a:gd name="connsiteY4" fmla="*/ 3833396 h 7667575"/>
              <a:gd name="connsiteX0" fmla="*/ 74375 w 9376495"/>
              <a:gd name="connsiteY0" fmla="*/ 3833396 h 8025314"/>
              <a:gd name="connsiteX1" fmla="*/ 4847261 w 9376495"/>
              <a:gd name="connsiteY1" fmla="*/ 5202 h 8025314"/>
              <a:gd name="connsiteX2" fmla="*/ 9376222 w 9376495"/>
              <a:gd name="connsiteY2" fmla="*/ 4176690 h 8025314"/>
              <a:gd name="connsiteX3" fmla="*/ 3774078 w 9376495"/>
              <a:gd name="connsiteY3" fmla="*/ 7643857 h 8025314"/>
              <a:gd name="connsiteX4" fmla="*/ 74375 w 9376495"/>
              <a:gd name="connsiteY4" fmla="*/ 3833396 h 8025314"/>
              <a:gd name="connsiteX0" fmla="*/ 68891 w 9789817"/>
              <a:gd name="connsiteY0" fmla="*/ 3886600 h 7662715"/>
              <a:gd name="connsiteX1" fmla="*/ 5260573 w 9789817"/>
              <a:gd name="connsiteY1" fmla="*/ 3488 h 7662715"/>
              <a:gd name="connsiteX2" fmla="*/ 9789534 w 9789817"/>
              <a:gd name="connsiteY2" fmla="*/ 4174976 h 7662715"/>
              <a:gd name="connsiteX3" fmla="*/ 4187390 w 9789817"/>
              <a:gd name="connsiteY3" fmla="*/ 7642143 h 7662715"/>
              <a:gd name="connsiteX4" fmla="*/ 68891 w 9789817"/>
              <a:gd name="connsiteY4" fmla="*/ 3886600 h 7662715"/>
              <a:gd name="connsiteX0" fmla="*/ 8525 w 9736614"/>
              <a:gd name="connsiteY0" fmla="*/ 4268121 h 8024448"/>
              <a:gd name="connsiteX1" fmla="*/ 5200208 w 9736614"/>
              <a:gd name="connsiteY1" fmla="*/ 576 h 8024448"/>
              <a:gd name="connsiteX2" fmla="*/ 9729168 w 9736614"/>
              <a:gd name="connsiteY2" fmla="*/ 4556497 h 8024448"/>
              <a:gd name="connsiteX3" fmla="*/ 4127024 w 9736614"/>
              <a:gd name="connsiteY3" fmla="*/ 8023664 h 8024448"/>
              <a:gd name="connsiteX4" fmla="*/ 8525 w 9736614"/>
              <a:gd name="connsiteY4" fmla="*/ 4268121 h 8024448"/>
              <a:gd name="connsiteX0" fmla="*/ 8525 w 9809186"/>
              <a:gd name="connsiteY0" fmla="*/ 4267555 h 8023882"/>
              <a:gd name="connsiteX1" fmla="*/ 5200208 w 9809186"/>
              <a:gd name="connsiteY1" fmla="*/ 10 h 8023882"/>
              <a:gd name="connsiteX2" fmla="*/ 9729168 w 9809186"/>
              <a:gd name="connsiteY2" fmla="*/ 4555931 h 8023882"/>
              <a:gd name="connsiteX3" fmla="*/ 4127024 w 9809186"/>
              <a:gd name="connsiteY3" fmla="*/ 8023098 h 8023882"/>
              <a:gd name="connsiteX4" fmla="*/ 8525 w 9809186"/>
              <a:gd name="connsiteY4" fmla="*/ 4267555 h 8023882"/>
              <a:gd name="connsiteX0" fmla="*/ 33387 w 9834048"/>
              <a:gd name="connsiteY0" fmla="*/ 4267555 h 8297676"/>
              <a:gd name="connsiteX1" fmla="*/ 5225070 w 9834048"/>
              <a:gd name="connsiteY1" fmla="*/ 10 h 8297676"/>
              <a:gd name="connsiteX2" fmla="*/ 9754030 w 9834048"/>
              <a:gd name="connsiteY2" fmla="*/ 4555931 h 8297676"/>
              <a:gd name="connsiteX3" fmla="*/ 4151886 w 9834048"/>
              <a:gd name="connsiteY3" fmla="*/ 8023098 h 8297676"/>
              <a:gd name="connsiteX4" fmla="*/ 33387 w 9834048"/>
              <a:gd name="connsiteY4" fmla="*/ 4267555 h 8297676"/>
              <a:gd name="connsiteX0" fmla="*/ 36908 w 9837569"/>
              <a:gd name="connsiteY0" fmla="*/ 4267555 h 8297676"/>
              <a:gd name="connsiteX1" fmla="*/ 5228591 w 9837569"/>
              <a:gd name="connsiteY1" fmla="*/ 10 h 8297676"/>
              <a:gd name="connsiteX2" fmla="*/ 9757551 w 9837569"/>
              <a:gd name="connsiteY2" fmla="*/ 4555931 h 8297676"/>
              <a:gd name="connsiteX3" fmla="*/ 4155407 w 9837569"/>
              <a:gd name="connsiteY3" fmla="*/ 8023098 h 8297676"/>
              <a:gd name="connsiteX4" fmla="*/ 36908 w 9837569"/>
              <a:gd name="connsiteY4" fmla="*/ 4267555 h 8297676"/>
              <a:gd name="connsiteX0" fmla="*/ 36908 w 9837569"/>
              <a:gd name="connsiteY0" fmla="*/ 4267555 h 8371648"/>
              <a:gd name="connsiteX1" fmla="*/ 5228591 w 9837569"/>
              <a:gd name="connsiteY1" fmla="*/ 10 h 8371648"/>
              <a:gd name="connsiteX2" fmla="*/ 9757551 w 9837569"/>
              <a:gd name="connsiteY2" fmla="*/ 4555931 h 8371648"/>
              <a:gd name="connsiteX3" fmla="*/ 4155407 w 9837569"/>
              <a:gd name="connsiteY3" fmla="*/ 8023098 h 8371648"/>
              <a:gd name="connsiteX4" fmla="*/ 36908 w 9837569"/>
              <a:gd name="connsiteY4" fmla="*/ 4267555 h 8371648"/>
              <a:gd name="connsiteX0" fmla="*/ 36908 w 9770978"/>
              <a:gd name="connsiteY0" fmla="*/ 4267555 h 8643310"/>
              <a:gd name="connsiteX1" fmla="*/ 5228591 w 9770978"/>
              <a:gd name="connsiteY1" fmla="*/ 10 h 8643310"/>
              <a:gd name="connsiteX2" fmla="*/ 9757551 w 9770978"/>
              <a:gd name="connsiteY2" fmla="*/ 4555931 h 8643310"/>
              <a:gd name="connsiteX3" fmla="*/ 6538587 w 9770978"/>
              <a:gd name="connsiteY3" fmla="*/ 8296184 h 8643310"/>
              <a:gd name="connsiteX4" fmla="*/ 4155407 w 9770978"/>
              <a:gd name="connsiteY4" fmla="*/ 8023098 h 8643310"/>
              <a:gd name="connsiteX5" fmla="*/ 36908 w 9770978"/>
              <a:gd name="connsiteY5" fmla="*/ 4267555 h 8643310"/>
              <a:gd name="connsiteX0" fmla="*/ 45630 w 9779700"/>
              <a:gd name="connsiteY0" fmla="*/ 4267555 h 8296184"/>
              <a:gd name="connsiteX1" fmla="*/ 5237313 w 9779700"/>
              <a:gd name="connsiteY1" fmla="*/ 10 h 8296184"/>
              <a:gd name="connsiteX2" fmla="*/ 9766273 w 9779700"/>
              <a:gd name="connsiteY2" fmla="*/ 4555931 h 8296184"/>
              <a:gd name="connsiteX3" fmla="*/ 6547309 w 9779700"/>
              <a:gd name="connsiteY3" fmla="*/ 8296184 h 8296184"/>
              <a:gd name="connsiteX4" fmla="*/ 45630 w 9779700"/>
              <a:gd name="connsiteY4" fmla="*/ 4267555 h 8296184"/>
              <a:gd name="connsiteX0" fmla="*/ 45630 w 9784197"/>
              <a:gd name="connsiteY0" fmla="*/ 4267555 h 8296893"/>
              <a:gd name="connsiteX1" fmla="*/ 5237313 w 9784197"/>
              <a:gd name="connsiteY1" fmla="*/ 10 h 8296893"/>
              <a:gd name="connsiteX2" fmla="*/ 9766273 w 9784197"/>
              <a:gd name="connsiteY2" fmla="*/ 4555931 h 8296893"/>
              <a:gd name="connsiteX3" fmla="*/ 6547309 w 9784197"/>
              <a:gd name="connsiteY3" fmla="*/ 8296184 h 8296893"/>
              <a:gd name="connsiteX4" fmla="*/ 45630 w 9784197"/>
              <a:gd name="connsiteY4" fmla="*/ 4267555 h 8296893"/>
              <a:gd name="connsiteX0" fmla="*/ 45630 w 9794788"/>
              <a:gd name="connsiteY0" fmla="*/ 4267555 h 8296893"/>
              <a:gd name="connsiteX1" fmla="*/ 5237313 w 9794788"/>
              <a:gd name="connsiteY1" fmla="*/ 10 h 8296893"/>
              <a:gd name="connsiteX2" fmla="*/ 9766273 w 9794788"/>
              <a:gd name="connsiteY2" fmla="*/ 4555931 h 8296893"/>
              <a:gd name="connsiteX3" fmla="*/ 6547309 w 9794788"/>
              <a:gd name="connsiteY3" fmla="*/ 8296184 h 8296893"/>
              <a:gd name="connsiteX4" fmla="*/ 45630 w 9794788"/>
              <a:gd name="connsiteY4" fmla="*/ 4267555 h 8296893"/>
              <a:gd name="connsiteX0" fmla="*/ 61305 w 9810463"/>
              <a:gd name="connsiteY0" fmla="*/ 4267555 h 8296893"/>
              <a:gd name="connsiteX1" fmla="*/ 5252988 w 9810463"/>
              <a:gd name="connsiteY1" fmla="*/ 10 h 8296893"/>
              <a:gd name="connsiteX2" fmla="*/ 9781948 w 9810463"/>
              <a:gd name="connsiteY2" fmla="*/ 4555931 h 8296893"/>
              <a:gd name="connsiteX3" fmla="*/ 6562984 w 9810463"/>
              <a:gd name="connsiteY3" fmla="*/ 8296184 h 8296893"/>
              <a:gd name="connsiteX4" fmla="*/ 61305 w 9810463"/>
              <a:gd name="connsiteY4" fmla="*/ 4267555 h 8296893"/>
              <a:gd name="connsiteX0" fmla="*/ 277 w 9749435"/>
              <a:gd name="connsiteY0" fmla="*/ 4267555 h 8296893"/>
              <a:gd name="connsiteX1" fmla="*/ 5191960 w 9749435"/>
              <a:gd name="connsiteY1" fmla="*/ 10 h 8296893"/>
              <a:gd name="connsiteX2" fmla="*/ 9720920 w 9749435"/>
              <a:gd name="connsiteY2" fmla="*/ 4555931 h 8296893"/>
              <a:gd name="connsiteX3" fmla="*/ 6501956 w 9749435"/>
              <a:gd name="connsiteY3" fmla="*/ 8296184 h 8296893"/>
              <a:gd name="connsiteX4" fmla="*/ 277 w 9749435"/>
              <a:gd name="connsiteY4" fmla="*/ 4267555 h 8296893"/>
              <a:gd name="connsiteX0" fmla="*/ 17060 w 9752501"/>
              <a:gd name="connsiteY0" fmla="*/ 4212638 h 8241971"/>
              <a:gd name="connsiteX1" fmla="*/ 5627538 w 9752501"/>
              <a:gd name="connsiteY1" fmla="*/ 10 h 8241971"/>
              <a:gd name="connsiteX2" fmla="*/ 9737703 w 9752501"/>
              <a:gd name="connsiteY2" fmla="*/ 4501014 h 8241971"/>
              <a:gd name="connsiteX3" fmla="*/ 6518739 w 9752501"/>
              <a:gd name="connsiteY3" fmla="*/ 8241267 h 8241971"/>
              <a:gd name="connsiteX4" fmla="*/ 17060 w 9752501"/>
              <a:gd name="connsiteY4" fmla="*/ 4212638 h 8241971"/>
              <a:gd name="connsiteX0" fmla="*/ 17060 w 9752501"/>
              <a:gd name="connsiteY0" fmla="*/ 4212638 h 8241971"/>
              <a:gd name="connsiteX1" fmla="*/ 5627538 w 9752501"/>
              <a:gd name="connsiteY1" fmla="*/ 10 h 8241971"/>
              <a:gd name="connsiteX2" fmla="*/ 9737703 w 9752501"/>
              <a:gd name="connsiteY2" fmla="*/ 4501014 h 8241971"/>
              <a:gd name="connsiteX3" fmla="*/ 6518739 w 9752501"/>
              <a:gd name="connsiteY3" fmla="*/ 8241267 h 8241971"/>
              <a:gd name="connsiteX4" fmla="*/ 17060 w 9752501"/>
              <a:gd name="connsiteY4" fmla="*/ 4212638 h 8241971"/>
              <a:gd name="connsiteX0" fmla="*/ 17063 w 9752504"/>
              <a:gd name="connsiteY0" fmla="*/ 4212638 h 8241974"/>
              <a:gd name="connsiteX1" fmla="*/ 5627541 w 9752504"/>
              <a:gd name="connsiteY1" fmla="*/ 10 h 8241974"/>
              <a:gd name="connsiteX2" fmla="*/ 9737706 w 9752504"/>
              <a:gd name="connsiteY2" fmla="*/ 4501014 h 8241974"/>
              <a:gd name="connsiteX3" fmla="*/ 6518742 w 9752504"/>
              <a:gd name="connsiteY3" fmla="*/ 8241267 h 8241974"/>
              <a:gd name="connsiteX4" fmla="*/ 17063 w 9752504"/>
              <a:gd name="connsiteY4" fmla="*/ 4212638 h 8241974"/>
              <a:gd name="connsiteX0" fmla="*/ 17063 w 9803795"/>
              <a:gd name="connsiteY0" fmla="*/ 4212641 h 8242118"/>
              <a:gd name="connsiteX1" fmla="*/ 5627541 w 9803795"/>
              <a:gd name="connsiteY1" fmla="*/ 13 h 8242118"/>
              <a:gd name="connsiteX2" fmla="*/ 9737706 w 9803795"/>
              <a:gd name="connsiteY2" fmla="*/ 4501017 h 8242118"/>
              <a:gd name="connsiteX3" fmla="*/ 6518742 w 9803795"/>
              <a:gd name="connsiteY3" fmla="*/ 8241270 h 8242118"/>
              <a:gd name="connsiteX4" fmla="*/ 17063 w 9803795"/>
              <a:gd name="connsiteY4" fmla="*/ 4212641 h 8242118"/>
              <a:gd name="connsiteX0" fmla="*/ 17063 w 10147859"/>
              <a:gd name="connsiteY0" fmla="*/ 4212641 h 8242069"/>
              <a:gd name="connsiteX1" fmla="*/ 5627541 w 10147859"/>
              <a:gd name="connsiteY1" fmla="*/ 13 h 8242069"/>
              <a:gd name="connsiteX2" fmla="*/ 9737706 w 10147859"/>
              <a:gd name="connsiteY2" fmla="*/ 4501017 h 8242069"/>
              <a:gd name="connsiteX3" fmla="*/ 6518742 w 10147859"/>
              <a:gd name="connsiteY3" fmla="*/ 8241270 h 8242069"/>
              <a:gd name="connsiteX4" fmla="*/ 17063 w 10147859"/>
              <a:gd name="connsiteY4" fmla="*/ 4212641 h 8242069"/>
              <a:gd name="connsiteX0" fmla="*/ 40184 w 10170980"/>
              <a:gd name="connsiteY0" fmla="*/ 4212641 h 8242069"/>
              <a:gd name="connsiteX1" fmla="*/ 5650662 w 10170980"/>
              <a:gd name="connsiteY1" fmla="*/ 13 h 8242069"/>
              <a:gd name="connsiteX2" fmla="*/ 9760827 w 10170980"/>
              <a:gd name="connsiteY2" fmla="*/ 4501017 h 8242069"/>
              <a:gd name="connsiteX3" fmla="*/ 6541863 w 10170980"/>
              <a:gd name="connsiteY3" fmla="*/ 8241270 h 8242069"/>
              <a:gd name="connsiteX4" fmla="*/ 40184 w 10170980"/>
              <a:gd name="connsiteY4" fmla="*/ 4212641 h 8242069"/>
              <a:gd name="connsiteX0" fmla="*/ 184609 w 10315405"/>
              <a:gd name="connsiteY0" fmla="*/ 4212641 h 8242069"/>
              <a:gd name="connsiteX1" fmla="*/ 5795087 w 10315405"/>
              <a:gd name="connsiteY1" fmla="*/ 13 h 8242069"/>
              <a:gd name="connsiteX2" fmla="*/ 9905252 w 10315405"/>
              <a:gd name="connsiteY2" fmla="*/ 4501017 h 8242069"/>
              <a:gd name="connsiteX3" fmla="*/ 6686288 w 10315405"/>
              <a:gd name="connsiteY3" fmla="*/ 8241270 h 8242069"/>
              <a:gd name="connsiteX4" fmla="*/ 184609 w 10315405"/>
              <a:gd name="connsiteY4" fmla="*/ 4212641 h 8242069"/>
              <a:gd name="connsiteX0" fmla="*/ 11872 w 9881646"/>
              <a:gd name="connsiteY0" fmla="*/ 4212641 h 8369045"/>
              <a:gd name="connsiteX1" fmla="*/ 5622350 w 9881646"/>
              <a:gd name="connsiteY1" fmla="*/ 13 h 8369045"/>
              <a:gd name="connsiteX2" fmla="*/ 9732515 w 9881646"/>
              <a:gd name="connsiteY2" fmla="*/ 4501017 h 8369045"/>
              <a:gd name="connsiteX3" fmla="*/ 4453929 w 9881646"/>
              <a:gd name="connsiteY3" fmla="*/ 8368369 h 8369045"/>
              <a:gd name="connsiteX4" fmla="*/ 11872 w 9881646"/>
              <a:gd name="connsiteY4" fmla="*/ 4212641 h 8369045"/>
              <a:gd name="connsiteX0" fmla="*/ 16752 w 9886526"/>
              <a:gd name="connsiteY0" fmla="*/ 4212641 h 8370198"/>
              <a:gd name="connsiteX1" fmla="*/ 5627230 w 9886526"/>
              <a:gd name="connsiteY1" fmla="*/ 13 h 8370198"/>
              <a:gd name="connsiteX2" fmla="*/ 9737395 w 9886526"/>
              <a:gd name="connsiteY2" fmla="*/ 4501017 h 8370198"/>
              <a:gd name="connsiteX3" fmla="*/ 4458809 w 9886526"/>
              <a:gd name="connsiteY3" fmla="*/ 8368369 h 8370198"/>
              <a:gd name="connsiteX4" fmla="*/ 16752 w 9886526"/>
              <a:gd name="connsiteY4" fmla="*/ 4212641 h 8370198"/>
              <a:gd name="connsiteX0" fmla="*/ 41634 w 9911408"/>
              <a:gd name="connsiteY0" fmla="*/ 4212641 h 8370198"/>
              <a:gd name="connsiteX1" fmla="*/ 5652112 w 9911408"/>
              <a:gd name="connsiteY1" fmla="*/ 13 h 8370198"/>
              <a:gd name="connsiteX2" fmla="*/ 9762277 w 9911408"/>
              <a:gd name="connsiteY2" fmla="*/ 4501017 h 8370198"/>
              <a:gd name="connsiteX3" fmla="*/ 4483691 w 9911408"/>
              <a:gd name="connsiteY3" fmla="*/ 8368369 h 8370198"/>
              <a:gd name="connsiteX4" fmla="*/ 41634 w 9911408"/>
              <a:gd name="connsiteY4" fmla="*/ 4212641 h 837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408" h="8370198">
                <a:moveTo>
                  <a:pt x="41634" y="4212641"/>
                </a:moveTo>
                <a:cubicBezTo>
                  <a:pt x="-217959" y="2214189"/>
                  <a:pt x="629301" y="6868"/>
                  <a:pt x="5652112" y="13"/>
                </a:cubicBezTo>
                <a:cubicBezTo>
                  <a:pt x="10674923" y="-6842"/>
                  <a:pt x="9957014" y="3106291"/>
                  <a:pt x="9762277" y="4501017"/>
                </a:cubicBezTo>
                <a:cubicBezTo>
                  <a:pt x="9567540" y="5895743"/>
                  <a:pt x="7615959" y="8448207"/>
                  <a:pt x="4483691" y="8368369"/>
                </a:cubicBezTo>
                <a:cubicBezTo>
                  <a:pt x="1351423" y="8288531"/>
                  <a:pt x="301227" y="6211093"/>
                  <a:pt x="41634" y="4212641"/>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Oval 1">
            <a:extLst>
              <a:ext uri="{FF2B5EF4-FFF2-40B4-BE49-F238E27FC236}">
                <a16:creationId xmlns:a16="http://schemas.microsoft.com/office/drawing/2014/main" id="{6A8D6CD7-C9F0-AF47-9EAE-3D0AA6C2AFCD}"/>
              </a:ext>
            </a:extLst>
          </p:cNvPr>
          <p:cNvSpPr/>
          <p:nvPr userDrawn="1"/>
        </p:nvSpPr>
        <p:spPr>
          <a:xfrm>
            <a:off x="454378" y="884848"/>
            <a:ext cx="1867124" cy="1688985"/>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07" h="6533789">
                <a:moveTo>
                  <a:pt x="28" y="3193660"/>
                </a:moveTo>
                <a:cubicBezTo>
                  <a:pt x="10188" y="948734"/>
                  <a:pt x="2297881" y="-464402"/>
                  <a:pt x="4485668" y="140118"/>
                </a:cubicBezTo>
                <a:cubicBezTo>
                  <a:pt x="6673455" y="744638"/>
                  <a:pt x="7955308" y="1548174"/>
                  <a:pt x="7945148" y="3285100"/>
                </a:cubicBezTo>
                <a:cubicBezTo>
                  <a:pt x="7934988" y="5022026"/>
                  <a:pt x="6307695" y="5906842"/>
                  <a:pt x="4485668" y="6430082"/>
                </a:cubicBezTo>
                <a:cubicBezTo>
                  <a:pt x="2663641" y="6953322"/>
                  <a:pt x="-10132" y="5438586"/>
                  <a:pt x="28" y="319366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 name="Straight Connector 2">
            <a:extLst>
              <a:ext uri="{FF2B5EF4-FFF2-40B4-BE49-F238E27FC236}">
                <a16:creationId xmlns:a16="http://schemas.microsoft.com/office/drawing/2014/main" id="{149C3449-BA41-7741-B916-B7DBEE9C0AAE}"/>
              </a:ext>
            </a:extLst>
          </p:cNvPr>
          <p:cNvCxnSpPr>
            <a:cxnSpLocks/>
          </p:cNvCxnSpPr>
          <p:nvPr userDrawn="1"/>
        </p:nvCxnSpPr>
        <p:spPr>
          <a:xfrm>
            <a:off x="11392" y="650718"/>
            <a:ext cx="261089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0B23CFE-28CB-6D4A-A42B-7B52A8D5B9A6}"/>
              </a:ext>
            </a:extLst>
          </p:cNvPr>
          <p:cNvSpPr txBox="1"/>
          <p:nvPr userDrawn="1"/>
        </p:nvSpPr>
        <p:spPr>
          <a:xfrm>
            <a:off x="0" y="349701"/>
            <a:ext cx="4405373" cy="261610"/>
          </a:xfrm>
          <a:prstGeom prst="rect">
            <a:avLst/>
          </a:prstGeom>
          <a:noFill/>
        </p:spPr>
        <p:txBody>
          <a:bodyPr wrap="none" rtlCol="0" anchor="ctr">
            <a:spAutoFit/>
          </a:bodyPr>
          <a:lstStyle/>
          <a:p>
            <a:r>
              <a:rPr lang="en-US" sz="1100" b="1" dirty="0">
                <a:solidFill>
                  <a:schemeClr val="bg1"/>
                </a:solidFill>
                <a:latin typeface="Myriad Pro" panose="020B0503030403020204" pitchFamily="34" charset="0"/>
                <a:ea typeface="Verdana" panose="020B0604030504040204" pitchFamily="34" charset="0"/>
                <a:cs typeface="Verdana" panose="020B0604030504040204" pitchFamily="34" charset="0"/>
              </a:rPr>
              <a:t>Extra Organic Shapes to Use </a:t>
            </a:r>
            <a:r>
              <a:rPr lang="en-US" sz="1100" b="0" dirty="0">
                <a:solidFill>
                  <a:schemeClr val="bg1"/>
                </a:solidFill>
                <a:latin typeface="Myriad Pro" panose="020B0503030403020204" pitchFamily="34" charset="0"/>
                <a:ea typeface="Verdana" panose="020B0604030504040204" pitchFamily="34" charset="0"/>
                <a:cs typeface="Verdana" panose="020B0604030504040204" pitchFamily="34" charset="0"/>
              </a:rPr>
              <a:t>(behind numbers, images, headlines, etc.)</a:t>
            </a:r>
          </a:p>
        </p:txBody>
      </p:sp>
      <p:sp>
        <p:nvSpPr>
          <p:cNvPr id="8" name="Oval 1">
            <a:extLst>
              <a:ext uri="{FF2B5EF4-FFF2-40B4-BE49-F238E27FC236}">
                <a16:creationId xmlns:a16="http://schemas.microsoft.com/office/drawing/2014/main" id="{C2F02907-D638-E74C-B23F-8C1C15A6957C}"/>
              </a:ext>
            </a:extLst>
          </p:cNvPr>
          <p:cNvSpPr/>
          <p:nvPr userDrawn="1"/>
        </p:nvSpPr>
        <p:spPr>
          <a:xfrm>
            <a:off x="528969" y="2813551"/>
            <a:ext cx="1453449" cy="1685396"/>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4 w 5483127"/>
              <a:gd name="connsiteY0" fmla="*/ 3053598 h 6290048"/>
              <a:gd name="connsiteX1" fmla="*/ 4485664 w 5483127"/>
              <a:gd name="connsiteY1" fmla="*/ 56 h 6290048"/>
              <a:gd name="connsiteX2" fmla="*/ 5482446 w 5483127"/>
              <a:gd name="connsiteY2" fmla="*/ 3100262 h 6290048"/>
              <a:gd name="connsiteX3" fmla="*/ 4485664 w 5483127"/>
              <a:gd name="connsiteY3" fmla="*/ 6290020 h 6290048"/>
              <a:gd name="connsiteX4" fmla="*/ 24 w 5483127"/>
              <a:gd name="connsiteY4" fmla="*/ 3053598 h 6290048"/>
              <a:gd name="connsiteX0" fmla="*/ 24 w 6313297"/>
              <a:gd name="connsiteY0" fmla="*/ 3053598 h 6290052"/>
              <a:gd name="connsiteX1" fmla="*/ 4485664 w 6313297"/>
              <a:gd name="connsiteY1" fmla="*/ 56 h 6290052"/>
              <a:gd name="connsiteX2" fmla="*/ 5482446 w 6313297"/>
              <a:gd name="connsiteY2" fmla="*/ 3100262 h 6290052"/>
              <a:gd name="connsiteX3" fmla="*/ 4485664 w 6313297"/>
              <a:gd name="connsiteY3" fmla="*/ 6290020 h 6290052"/>
              <a:gd name="connsiteX4" fmla="*/ 24 w 6313297"/>
              <a:gd name="connsiteY4" fmla="*/ 3053598 h 6290052"/>
              <a:gd name="connsiteX0" fmla="*/ 24 w 6313297"/>
              <a:gd name="connsiteY0" fmla="*/ 3053598 h 6290056"/>
              <a:gd name="connsiteX1" fmla="*/ 4485664 w 6313297"/>
              <a:gd name="connsiteY1" fmla="*/ 56 h 6290056"/>
              <a:gd name="connsiteX2" fmla="*/ 5482446 w 6313297"/>
              <a:gd name="connsiteY2" fmla="*/ 3100262 h 6290056"/>
              <a:gd name="connsiteX3" fmla="*/ 4485664 w 6313297"/>
              <a:gd name="connsiteY3" fmla="*/ 6290020 h 6290056"/>
              <a:gd name="connsiteX4" fmla="*/ 24 w 6313297"/>
              <a:gd name="connsiteY4" fmla="*/ 3053598 h 6290056"/>
              <a:gd name="connsiteX0" fmla="*/ 313 w 6313586"/>
              <a:gd name="connsiteY0" fmla="*/ 3053571 h 6290029"/>
              <a:gd name="connsiteX1" fmla="*/ 4485953 w 6313586"/>
              <a:gd name="connsiteY1" fmla="*/ 29 h 6290029"/>
              <a:gd name="connsiteX2" fmla="*/ 5482735 w 6313586"/>
              <a:gd name="connsiteY2" fmla="*/ 3100235 h 6290029"/>
              <a:gd name="connsiteX3" fmla="*/ 4485953 w 6313586"/>
              <a:gd name="connsiteY3" fmla="*/ 6289993 h 6290029"/>
              <a:gd name="connsiteX4" fmla="*/ 313 w 6313586"/>
              <a:gd name="connsiteY4" fmla="*/ 3053571 h 6290029"/>
              <a:gd name="connsiteX0" fmla="*/ 313 w 5538556"/>
              <a:gd name="connsiteY0" fmla="*/ 3053571 h 6290083"/>
              <a:gd name="connsiteX1" fmla="*/ 4485953 w 5538556"/>
              <a:gd name="connsiteY1" fmla="*/ 29 h 6290083"/>
              <a:gd name="connsiteX2" fmla="*/ 5482735 w 5538556"/>
              <a:gd name="connsiteY2" fmla="*/ 3100235 h 6290083"/>
              <a:gd name="connsiteX3" fmla="*/ 4485953 w 5538556"/>
              <a:gd name="connsiteY3" fmla="*/ 6289993 h 6290083"/>
              <a:gd name="connsiteX4" fmla="*/ 313 w 5538556"/>
              <a:gd name="connsiteY4" fmla="*/ 3053571 h 6290083"/>
              <a:gd name="connsiteX0" fmla="*/ 1334 w 6391803"/>
              <a:gd name="connsiteY0" fmla="*/ 3071215 h 6307731"/>
              <a:gd name="connsiteX1" fmla="*/ 4486974 w 6391803"/>
              <a:gd name="connsiteY1" fmla="*/ 17673 h 6307731"/>
              <a:gd name="connsiteX2" fmla="*/ 5483756 w 6391803"/>
              <a:gd name="connsiteY2" fmla="*/ 3117879 h 6307731"/>
              <a:gd name="connsiteX3" fmla="*/ 4486974 w 6391803"/>
              <a:gd name="connsiteY3" fmla="*/ 6307637 h 6307731"/>
              <a:gd name="connsiteX4" fmla="*/ 1334 w 6391803"/>
              <a:gd name="connsiteY4" fmla="*/ 3071215 h 6307731"/>
              <a:gd name="connsiteX0" fmla="*/ 1334 w 6391803"/>
              <a:gd name="connsiteY0" fmla="*/ 3071215 h 6308215"/>
              <a:gd name="connsiteX1" fmla="*/ 4486974 w 6391803"/>
              <a:gd name="connsiteY1" fmla="*/ 17673 h 6308215"/>
              <a:gd name="connsiteX2" fmla="*/ 5483756 w 6391803"/>
              <a:gd name="connsiteY2" fmla="*/ 3117879 h 6308215"/>
              <a:gd name="connsiteX3" fmla="*/ 4486974 w 6391803"/>
              <a:gd name="connsiteY3" fmla="*/ 6307637 h 6308215"/>
              <a:gd name="connsiteX4" fmla="*/ 1334 w 6391803"/>
              <a:gd name="connsiteY4" fmla="*/ 3071215 h 6308215"/>
              <a:gd name="connsiteX0" fmla="*/ 70 w 6390539"/>
              <a:gd name="connsiteY0" fmla="*/ 3071215 h 6308281"/>
              <a:gd name="connsiteX1" fmla="*/ 4485710 w 6390539"/>
              <a:gd name="connsiteY1" fmla="*/ 17673 h 6308281"/>
              <a:gd name="connsiteX2" fmla="*/ 5482492 w 6390539"/>
              <a:gd name="connsiteY2" fmla="*/ 3117879 h 6308281"/>
              <a:gd name="connsiteX3" fmla="*/ 4485710 w 6390539"/>
              <a:gd name="connsiteY3" fmla="*/ 6307637 h 6308281"/>
              <a:gd name="connsiteX4" fmla="*/ 70 w 6390539"/>
              <a:gd name="connsiteY4" fmla="*/ 3071215 h 6308281"/>
              <a:gd name="connsiteX0" fmla="*/ 70 w 6354386"/>
              <a:gd name="connsiteY0" fmla="*/ 3058194 h 6295256"/>
              <a:gd name="connsiteX1" fmla="*/ 4485710 w 6354386"/>
              <a:gd name="connsiteY1" fmla="*/ 4652 h 6295256"/>
              <a:gd name="connsiteX2" fmla="*/ 5482492 w 6354386"/>
              <a:gd name="connsiteY2" fmla="*/ 3104858 h 6295256"/>
              <a:gd name="connsiteX3" fmla="*/ 4485710 w 6354386"/>
              <a:gd name="connsiteY3" fmla="*/ 6294616 h 6295256"/>
              <a:gd name="connsiteX4" fmla="*/ 70 w 6354386"/>
              <a:gd name="connsiteY4" fmla="*/ 3058194 h 6295256"/>
              <a:gd name="connsiteX0" fmla="*/ 36 w 5971709"/>
              <a:gd name="connsiteY0" fmla="*/ 3058194 h 6297600"/>
              <a:gd name="connsiteX1" fmla="*/ 4485676 w 5971709"/>
              <a:gd name="connsiteY1" fmla="*/ 4652 h 6297600"/>
              <a:gd name="connsiteX2" fmla="*/ 5482458 w 5971709"/>
              <a:gd name="connsiteY2" fmla="*/ 3104858 h 6297600"/>
              <a:gd name="connsiteX3" fmla="*/ 4485676 w 5971709"/>
              <a:gd name="connsiteY3" fmla="*/ 6294616 h 6297600"/>
              <a:gd name="connsiteX4" fmla="*/ 36 w 5971709"/>
              <a:gd name="connsiteY4" fmla="*/ 3058194 h 6297600"/>
              <a:gd name="connsiteX0" fmla="*/ 36 w 6809177"/>
              <a:gd name="connsiteY0" fmla="*/ 3058194 h 6297604"/>
              <a:gd name="connsiteX1" fmla="*/ 4485676 w 6809177"/>
              <a:gd name="connsiteY1" fmla="*/ 4652 h 6297604"/>
              <a:gd name="connsiteX2" fmla="*/ 5482458 w 6809177"/>
              <a:gd name="connsiteY2" fmla="*/ 3104858 h 6297604"/>
              <a:gd name="connsiteX3" fmla="*/ 4485676 w 6809177"/>
              <a:gd name="connsiteY3" fmla="*/ 6294616 h 6297604"/>
              <a:gd name="connsiteX4" fmla="*/ 36 w 6809177"/>
              <a:gd name="connsiteY4" fmla="*/ 3058194 h 6297604"/>
              <a:gd name="connsiteX0" fmla="*/ 36 w 6809177"/>
              <a:gd name="connsiteY0" fmla="*/ 3058194 h 6297600"/>
              <a:gd name="connsiteX1" fmla="*/ 4485676 w 6809177"/>
              <a:gd name="connsiteY1" fmla="*/ 4652 h 6297600"/>
              <a:gd name="connsiteX2" fmla="*/ 5482458 w 6809177"/>
              <a:gd name="connsiteY2" fmla="*/ 3104858 h 6297600"/>
              <a:gd name="connsiteX3" fmla="*/ 4485676 w 6809177"/>
              <a:gd name="connsiteY3" fmla="*/ 6294616 h 6297600"/>
              <a:gd name="connsiteX4" fmla="*/ 36 w 6809177"/>
              <a:gd name="connsiteY4" fmla="*/ 3058194 h 6297600"/>
              <a:gd name="connsiteX0" fmla="*/ 36 w 6809177"/>
              <a:gd name="connsiteY0" fmla="*/ 3058194 h 6297604"/>
              <a:gd name="connsiteX1" fmla="*/ 4485676 w 6809177"/>
              <a:gd name="connsiteY1" fmla="*/ 4652 h 6297604"/>
              <a:gd name="connsiteX2" fmla="*/ 5482458 w 6809177"/>
              <a:gd name="connsiteY2" fmla="*/ 3104858 h 6297604"/>
              <a:gd name="connsiteX3" fmla="*/ 4485676 w 6809177"/>
              <a:gd name="connsiteY3" fmla="*/ 6294616 h 6297604"/>
              <a:gd name="connsiteX4" fmla="*/ 36 w 6809177"/>
              <a:gd name="connsiteY4" fmla="*/ 3058194 h 6297604"/>
              <a:gd name="connsiteX0" fmla="*/ 36 w 6025198"/>
              <a:gd name="connsiteY0" fmla="*/ 3058194 h 6297600"/>
              <a:gd name="connsiteX1" fmla="*/ 4485676 w 6025198"/>
              <a:gd name="connsiteY1" fmla="*/ 4652 h 6297600"/>
              <a:gd name="connsiteX2" fmla="*/ 5482458 w 6025198"/>
              <a:gd name="connsiteY2" fmla="*/ 3104858 h 6297600"/>
              <a:gd name="connsiteX3" fmla="*/ 4485676 w 6025198"/>
              <a:gd name="connsiteY3" fmla="*/ 6294616 h 6297600"/>
              <a:gd name="connsiteX4" fmla="*/ 36 w 6025198"/>
              <a:gd name="connsiteY4" fmla="*/ 3058194 h 6297600"/>
              <a:gd name="connsiteX0" fmla="*/ 36 w 5839232"/>
              <a:gd name="connsiteY0" fmla="*/ 3239014 h 6478424"/>
              <a:gd name="connsiteX1" fmla="*/ 4485676 w 5839232"/>
              <a:gd name="connsiteY1" fmla="*/ 185472 h 6478424"/>
              <a:gd name="connsiteX2" fmla="*/ 5700845 w 5839232"/>
              <a:gd name="connsiteY2" fmla="*/ 657416 h 6478424"/>
              <a:gd name="connsiteX3" fmla="*/ 5482458 w 5839232"/>
              <a:gd name="connsiteY3" fmla="*/ 3285678 h 6478424"/>
              <a:gd name="connsiteX4" fmla="*/ 4485676 w 5839232"/>
              <a:gd name="connsiteY4" fmla="*/ 6475436 h 6478424"/>
              <a:gd name="connsiteX5" fmla="*/ 36 w 5839232"/>
              <a:gd name="connsiteY5" fmla="*/ 3239014 h 6478424"/>
              <a:gd name="connsiteX0" fmla="*/ 36 w 6850287"/>
              <a:gd name="connsiteY0" fmla="*/ 3203672 h 6443078"/>
              <a:gd name="connsiteX1" fmla="*/ 4485676 w 6850287"/>
              <a:gd name="connsiteY1" fmla="*/ 150130 h 6443078"/>
              <a:gd name="connsiteX2" fmla="*/ 6833683 w 6850287"/>
              <a:gd name="connsiteY2" fmla="*/ 756402 h 6443078"/>
              <a:gd name="connsiteX3" fmla="*/ 5482458 w 6850287"/>
              <a:gd name="connsiteY3" fmla="*/ 3250336 h 6443078"/>
              <a:gd name="connsiteX4" fmla="*/ 4485676 w 6850287"/>
              <a:gd name="connsiteY4" fmla="*/ 6440094 h 6443078"/>
              <a:gd name="connsiteX5" fmla="*/ 36 w 6850287"/>
              <a:gd name="connsiteY5" fmla="*/ 3203672 h 6443078"/>
              <a:gd name="connsiteX0" fmla="*/ 36 w 6848100"/>
              <a:gd name="connsiteY0" fmla="*/ 3203672 h 6624084"/>
              <a:gd name="connsiteX1" fmla="*/ 4485676 w 6848100"/>
              <a:gd name="connsiteY1" fmla="*/ 150130 h 6624084"/>
              <a:gd name="connsiteX2" fmla="*/ 6833683 w 6848100"/>
              <a:gd name="connsiteY2" fmla="*/ 756402 h 6624084"/>
              <a:gd name="connsiteX3" fmla="*/ 5482458 w 6848100"/>
              <a:gd name="connsiteY3" fmla="*/ 3250336 h 6624084"/>
              <a:gd name="connsiteX4" fmla="*/ 5651590 w 6848100"/>
              <a:gd name="connsiteY4" fmla="*/ 5905682 h 6624084"/>
              <a:gd name="connsiteX5" fmla="*/ 4485676 w 6848100"/>
              <a:gd name="connsiteY5" fmla="*/ 6440094 h 6624084"/>
              <a:gd name="connsiteX6" fmla="*/ 36 w 6848100"/>
              <a:gd name="connsiteY6" fmla="*/ 3203672 h 6624084"/>
              <a:gd name="connsiteX0" fmla="*/ 23 w 6993245"/>
              <a:gd name="connsiteY0" fmla="*/ 3203672 h 6563767"/>
              <a:gd name="connsiteX1" fmla="*/ 4485663 w 6993245"/>
              <a:gd name="connsiteY1" fmla="*/ 150130 h 6563767"/>
              <a:gd name="connsiteX2" fmla="*/ 6833670 w 6993245"/>
              <a:gd name="connsiteY2" fmla="*/ 756402 h 6563767"/>
              <a:gd name="connsiteX3" fmla="*/ 5482445 w 6993245"/>
              <a:gd name="connsiteY3" fmla="*/ 3250336 h 6563767"/>
              <a:gd name="connsiteX4" fmla="*/ 6981432 w 6993245"/>
              <a:gd name="connsiteY4" fmla="*/ 5637024 h 6563767"/>
              <a:gd name="connsiteX5" fmla="*/ 4485663 w 6993245"/>
              <a:gd name="connsiteY5" fmla="*/ 6440094 h 6563767"/>
              <a:gd name="connsiteX6" fmla="*/ 23 w 6993245"/>
              <a:gd name="connsiteY6" fmla="*/ 3203672 h 6563767"/>
              <a:gd name="connsiteX0" fmla="*/ 10512 w 7003734"/>
              <a:gd name="connsiteY0" fmla="*/ 3166624 h 6526719"/>
              <a:gd name="connsiteX1" fmla="*/ 3363309 w 7003734"/>
              <a:gd name="connsiteY1" fmla="*/ 157861 h 6526719"/>
              <a:gd name="connsiteX2" fmla="*/ 6844159 w 7003734"/>
              <a:gd name="connsiteY2" fmla="*/ 719354 h 6526719"/>
              <a:gd name="connsiteX3" fmla="*/ 5492934 w 7003734"/>
              <a:gd name="connsiteY3" fmla="*/ 3213288 h 6526719"/>
              <a:gd name="connsiteX4" fmla="*/ 6991921 w 7003734"/>
              <a:gd name="connsiteY4" fmla="*/ 5599976 h 6526719"/>
              <a:gd name="connsiteX5" fmla="*/ 4496152 w 7003734"/>
              <a:gd name="connsiteY5" fmla="*/ 6403046 h 6526719"/>
              <a:gd name="connsiteX6" fmla="*/ 10512 w 7003734"/>
              <a:gd name="connsiteY6" fmla="*/ 3166624 h 6526719"/>
              <a:gd name="connsiteX0" fmla="*/ 16831 w 7010053"/>
              <a:gd name="connsiteY0" fmla="*/ 3147324 h 6507419"/>
              <a:gd name="connsiteX1" fmla="*/ 3369628 w 7010053"/>
              <a:gd name="connsiteY1" fmla="*/ 138561 h 6507419"/>
              <a:gd name="connsiteX2" fmla="*/ 6850478 w 7010053"/>
              <a:gd name="connsiteY2" fmla="*/ 700054 h 6507419"/>
              <a:gd name="connsiteX3" fmla="*/ 5499253 w 7010053"/>
              <a:gd name="connsiteY3" fmla="*/ 3193988 h 6507419"/>
              <a:gd name="connsiteX4" fmla="*/ 6998240 w 7010053"/>
              <a:gd name="connsiteY4" fmla="*/ 5580676 h 6507419"/>
              <a:gd name="connsiteX5" fmla="*/ 4502471 w 7010053"/>
              <a:gd name="connsiteY5" fmla="*/ 6383746 h 6507419"/>
              <a:gd name="connsiteX6" fmla="*/ 16831 w 7010053"/>
              <a:gd name="connsiteY6" fmla="*/ 3147324 h 6507419"/>
              <a:gd name="connsiteX0" fmla="*/ 14 w 6993236"/>
              <a:gd name="connsiteY0" fmla="*/ 3147324 h 6507419"/>
              <a:gd name="connsiteX1" fmla="*/ 3352811 w 6993236"/>
              <a:gd name="connsiteY1" fmla="*/ 138561 h 6507419"/>
              <a:gd name="connsiteX2" fmla="*/ 6833661 w 6993236"/>
              <a:gd name="connsiteY2" fmla="*/ 700054 h 6507419"/>
              <a:gd name="connsiteX3" fmla="*/ 5482436 w 6993236"/>
              <a:gd name="connsiteY3" fmla="*/ 3193988 h 6507419"/>
              <a:gd name="connsiteX4" fmla="*/ 6981423 w 6993236"/>
              <a:gd name="connsiteY4" fmla="*/ 5580676 h 6507419"/>
              <a:gd name="connsiteX5" fmla="*/ 4485654 w 6993236"/>
              <a:gd name="connsiteY5" fmla="*/ 6383746 h 6507419"/>
              <a:gd name="connsiteX6" fmla="*/ 14 w 6993236"/>
              <a:gd name="connsiteY6" fmla="*/ 3147324 h 6507419"/>
              <a:gd name="connsiteX0" fmla="*/ 13 w 6993236"/>
              <a:gd name="connsiteY0" fmla="*/ 3502681 h 6528885"/>
              <a:gd name="connsiteX1" fmla="*/ 3352811 w 6993236"/>
              <a:gd name="connsiteY1" fmla="*/ 180484 h 6528885"/>
              <a:gd name="connsiteX2" fmla="*/ 6833661 w 6993236"/>
              <a:gd name="connsiteY2" fmla="*/ 741977 h 6528885"/>
              <a:gd name="connsiteX3" fmla="*/ 5482436 w 6993236"/>
              <a:gd name="connsiteY3" fmla="*/ 3235911 h 6528885"/>
              <a:gd name="connsiteX4" fmla="*/ 6981423 w 6993236"/>
              <a:gd name="connsiteY4" fmla="*/ 5622599 h 6528885"/>
              <a:gd name="connsiteX5" fmla="*/ 4485654 w 6993236"/>
              <a:gd name="connsiteY5" fmla="*/ 6425669 h 6528885"/>
              <a:gd name="connsiteX6" fmla="*/ 13 w 6993236"/>
              <a:gd name="connsiteY6" fmla="*/ 3502681 h 6528885"/>
              <a:gd name="connsiteX0" fmla="*/ 17 w 6993240"/>
              <a:gd name="connsiteY0" fmla="*/ 3502681 h 6429090"/>
              <a:gd name="connsiteX1" fmla="*/ 3352815 w 6993240"/>
              <a:gd name="connsiteY1" fmla="*/ 180484 h 6429090"/>
              <a:gd name="connsiteX2" fmla="*/ 6833665 w 6993240"/>
              <a:gd name="connsiteY2" fmla="*/ 741977 h 6429090"/>
              <a:gd name="connsiteX3" fmla="*/ 5482440 w 6993240"/>
              <a:gd name="connsiteY3" fmla="*/ 3235911 h 6429090"/>
              <a:gd name="connsiteX4" fmla="*/ 6981427 w 6993240"/>
              <a:gd name="connsiteY4" fmla="*/ 5622599 h 6429090"/>
              <a:gd name="connsiteX5" fmla="*/ 4485658 w 6993240"/>
              <a:gd name="connsiteY5" fmla="*/ 6425669 h 6429090"/>
              <a:gd name="connsiteX6" fmla="*/ 17 w 6993240"/>
              <a:gd name="connsiteY6" fmla="*/ 3502681 h 6429090"/>
              <a:gd name="connsiteX0" fmla="*/ 17 w 6987563"/>
              <a:gd name="connsiteY0" fmla="*/ 3502681 h 6448456"/>
              <a:gd name="connsiteX1" fmla="*/ 3352815 w 6987563"/>
              <a:gd name="connsiteY1" fmla="*/ 180484 h 6448456"/>
              <a:gd name="connsiteX2" fmla="*/ 6833665 w 6987563"/>
              <a:gd name="connsiteY2" fmla="*/ 741977 h 6448456"/>
              <a:gd name="connsiteX3" fmla="*/ 5482440 w 6987563"/>
              <a:gd name="connsiteY3" fmla="*/ 3235911 h 6448456"/>
              <a:gd name="connsiteX4" fmla="*/ 6981427 w 6987563"/>
              <a:gd name="connsiteY4" fmla="*/ 5622599 h 6448456"/>
              <a:gd name="connsiteX5" fmla="*/ 4485658 w 6987563"/>
              <a:gd name="connsiteY5" fmla="*/ 6425669 h 6448456"/>
              <a:gd name="connsiteX6" fmla="*/ 17 w 6987563"/>
              <a:gd name="connsiteY6" fmla="*/ 3502681 h 6448456"/>
              <a:gd name="connsiteX0" fmla="*/ 17 w 6987563"/>
              <a:gd name="connsiteY0" fmla="*/ 3502681 h 6488940"/>
              <a:gd name="connsiteX1" fmla="*/ 3352815 w 6987563"/>
              <a:gd name="connsiteY1" fmla="*/ 180484 h 6488940"/>
              <a:gd name="connsiteX2" fmla="*/ 6833665 w 6987563"/>
              <a:gd name="connsiteY2" fmla="*/ 741977 h 6488940"/>
              <a:gd name="connsiteX3" fmla="*/ 5482440 w 6987563"/>
              <a:gd name="connsiteY3" fmla="*/ 3235911 h 6488940"/>
              <a:gd name="connsiteX4" fmla="*/ 6981427 w 6987563"/>
              <a:gd name="connsiteY4" fmla="*/ 5130062 h 6488940"/>
              <a:gd name="connsiteX5" fmla="*/ 4485658 w 6987563"/>
              <a:gd name="connsiteY5" fmla="*/ 6425669 h 6488940"/>
              <a:gd name="connsiteX6" fmla="*/ 17 w 6987563"/>
              <a:gd name="connsiteY6" fmla="*/ 3502681 h 6488940"/>
              <a:gd name="connsiteX0" fmla="*/ 17 w 6987563"/>
              <a:gd name="connsiteY0" fmla="*/ 3502681 h 6488940"/>
              <a:gd name="connsiteX1" fmla="*/ 3352815 w 6987563"/>
              <a:gd name="connsiteY1" fmla="*/ 180484 h 6488940"/>
              <a:gd name="connsiteX2" fmla="*/ 6833665 w 6987563"/>
              <a:gd name="connsiteY2" fmla="*/ 741977 h 6488940"/>
              <a:gd name="connsiteX3" fmla="*/ 5482440 w 6987563"/>
              <a:gd name="connsiteY3" fmla="*/ 3235911 h 6488940"/>
              <a:gd name="connsiteX4" fmla="*/ 6981427 w 6987563"/>
              <a:gd name="connsiteY4" fmla="*/ 5130062 h 6488940"/>
              <a:gd name="connsiteX5" fmla="*/ 4485658 w 6987563"/>
              <a:gd name="connsiteY5" fmla="*/ 6425669 h 6488940"/>
              <a:gd name="connsiteX6" fmla="*/ 17 w 6987563"/>
              <a:gd name="connsiteY6" fmla="*/ 3502681 h 6488940"/>
              <a:gd name="connsiteX0" fmla="*/ 17 w 6987563"/>
              <a:gd name="connsiteY0" fmla="*/ 3627049 h 6613308"/>
              <a:gd name="connsiteX1" fmla="*/ 3352815 w 6987563"/>
              <a:gd name="connsiteY1" fmla="*/ 304852 h 6613308"/>
              <a:gd name="connsiteX2" fmla="*/ 6833665 w 6987563"/>
              <a:gd name="connsiteY2" fmla="*/ 866345 h 6613308"/>
              <a:gd name="connsiteX3" fmla="*/ 5482440 w 6987563"/>
              <a:gd name="connsiteY3" fmla="*/ 3360279 h 6613308"/>
              <a:gd name="connsiteX4" fmla="*/ 6981427 w 6987563"/>
              <a:gd name="connsiteY4" fmla="*/ 5254430 h 6613308"/>
              <a:gd name="connsiteX5" fmla="*/ 4485658 w 6987563"/>
              <a:gd name="connsiteY5" fmla="*/ 6550037 h 6613308"/>
              <a:gd name="connsiteX6" fmla="*/ 17 w 6987563"/>
              <a:gd name="connsiteY6" fmla="*/ 3627049 h 6613308"/>
              <a:gd name="connsiteX0" fmla="*/ 17 w 6987623"/>
              <a:gd name="connsiteY0" fmla="*/ 3487304 h 6473563"/>
              <a:gd name="connsiteX1" fmla="*/ 3352815 w 6987623"/>
              <a:gd name="connsiteY1" fmla="*/ 165107 h 6473563"/>
              <a:gd name="connsiteX2" fmla="*/ 6735155 w 6987623"/>
              <a:gd name="connsiteY2" fmla="*/ 1129586 h 6473563"/>
              <a:gd name="connsiteX3" fmla="*/ 5482440 w 6987623"/>
              <a:gd name="connsiteY3" fmla="*/ 3220534 h 6473563"/>
              <a:gd name="connsiteX4" fmla="*/ 6981427 w 6987623"/>
              <a:gd name="connsiteY4" fmla="*/ 5114685 h 6473563"/>
              <a:gd name="connsiteX5" fmla="*/ 4485658 w 6987623"/>
              <a:gd name="connsiteY5" fmla="*/ 6410292 h 6473563"/>
              <a:gd name="connsiteX6" fmla="*/ 17 w 6987623"/>
              <a:gd name="connsiteY6" fmla="*/ 3487304 h 6473563"/>
              <a:gd name="connsiteX0" fmla="*/ 549 w 6988155"/>
              <a:gd name="connsiteY0" fmla="*/ 3487304 h 6473563"/>
              <a:gd name="connsiteX1" fmla="*/ 3353347 w 6988155"/>
              <a:gd name="connsiteY1" fmla="*/ 165107 h 6473563"/>
              <a:gd name="connsiteX2" fmla="*/ 6735687 w 6988155"/>
              <a:gd name="connsiteY2" fmla="*/ 1129586 h 6473563"/>
              <a:gd name="connsiteX3" fmla="*/ 5482972 w 6988155"/>
              <a:gd name="connsiteY3" fmla="*/ 3220534 h 6473563"/>
              <a:gd name="connsiteX4" fmla="*/ 6981959 w 6988155"/>
              <a:gd name="connsiteY4" fmla="*/ 5114685 h 6473563"/>
              <a:gd name="connsiteX5" fmla="*/ 4486190 w 6988155"/>
              <a:gd name="connsiteY5" fmla="*/ 6410292 h 6473563"/>
              <a:gd name="connsiteX6" fmla="*/ 549 w 6988155"/>
              <a:gd name="connsiteY6" fmla="*/ 3487304 h 6473563"/>
              <a:gd name="connsiteX0" fmla="*/ 549 w 6988155"/>
              <a:gd name="connsiteY0" fmla="*/ 3598078 h 6584337"/>
              <a:gd name="connsiteX1" fmla="*/ 3353347 w 6988155"/>
              <a:gd name="connsiteY1" fmla="*/ 275881 h 6584337"/>
              <a:gd name="connsiteX2" fmla="*/ 6735687 w 6988155"/>
              <a:gd name="connsiteY2" fmla="*/ 1240360 h 6584337"/>
              <a:gd name="connsiteX3" fmla="*/ 5482972 w 6988155"/>
              <a:gd name="connsiteY3" fmla="*/ 3331308 h 6584337"/>
              <a:gd name="connsiteX4" fmla="*/ 6981959 w 6988155"/>
              <a:gd name="connsiteY4" fmla="*/ 5225459 h 6584337"/>
              <a:gd name="connsiteX5" fmla="*/ 4486190 w 6988155"/>
              <a:gd name="connsiteY5" fmla="*/ 6521066 h 6584337"/>
              <a:gd name="connsiteX6" fmla="*/ 549 w 6988155"/>
              <a:gd name="connsiteY6" fmla="*/ 3598078 h 6584337"/>
              <a:gd name="connsiteX0" fmla="*/ 549 w 7015093"/>
              <a:gd name="connsiteY0" fmla="*/ 3423563 h 6390813"/>
              <a:gd name="connsiteX1" fmla="*/ 3353347 w 7015093"/>
              <a:gd name="connsiteY1" fmla="*/ 101366 h 6390813"/>
              <a:gd name="connsiteX2" fmla="*/ 6735687 w 7015093"/>
              <a:gd name="connsiteY2" fmla="*/ 1065845 h 6390813"/>
              <a:gd name="connsiteX3" fmla="*/ 5970585 w 7015093"/>
              <a:gd name="connsiteY3" fmla="*/ 3201566 h 6390813"/>
              <a:gd name="connsiteX4" fmla="*/ 6981959 w 7015093"/>
              <a:gd name="connsiteY4" fmla="*/ 5050944 h 6390813"/>
              <a:gd name="connsiteX5" fmla="*/ 4486190 w 7015093"/>
              <a:gd name="connsiteY5" fmla="*/ 6346551 h 6390813"/>
              <a:gd name="connsiteX6" fmla="*/ 549 w 7015093"/>
              <a:gd name="connsiteY6" fmla="*/ 3423563 h 6390813"/>
              <a:gd name="connsiteX0" fmla="*/ 549 w 7016394"/>
              <a:gd name="connsiteY0" fmla="*/ 3423563 h 6390813"/>
              <a:gd name="connsiteX1" fmla="*/ 3353347 w 7016394"/>
              <a:gd name="connsiteY1" fmla="*/ 101366 h 6390813"/>
              <a:gd name="connsiteX2" fmla="*/ 6735687 w 7016394"/>
              <a:gd name="connsiteY2" fmla="*/ 1065845 h 6390813"/>
              <a:gd name="connsiteX3" fmla="*/ 5970585 w 7016394"/>
              <a:gd name="connsiteY3" fmla="*/ 3201566 h 6390813"/>
              <a:gd name="connsiteX4" fmla="*/ 6981959 w 7016394"/>
              <a:gd name="connsiteY4" fmla="*/ 5050944 h 6390813"/>
              <a:gd name="connsiteX5" fmla="*/ 4486190 w 7016394"/>
              <a:gd name="connsiteY5" fmla="*/ 6346551 h 6390813"/>
              <a:gd name="connsiteX6" fmla="*/ 549 w 7016394"/>
              <a:gd name="connsiteY6" fmla="*/ 3423563 h 6390813"/>
              <a:gd name="connsiteX0" fmla="*/ 549 w 7016394"/>
              <a:gd name="connsiteY0" fmla="*/ 3573907 h 6541157"/>
              <a:gd name="connsiteX1" fmla="*/ 3353347 w 7016394"/>
              <a:gd name="connsiteY1" fmla="*/ 251710 h 6541157"/>
              <a:gd name="connsiteX2" fmla="*/ 6735687 w 7016394"/>
              <a:gd name="connsiteY2" fmla="*/ 1216189 h 6541157"/>
              <a:gd name="connsiteX3" fmla="*/ 5970585 w 7016394"/>
              <a:gd name="connsiteY3" fmla="*/ 3351910 h 6541157"/>
              <a:gd name="connsiteX4" fmla="*/ 6981959 w 7016394"/>
              <a:gd name="connsiteY4" fmla="*/ 5201288 h 6541157"/>
              <a:gd name="connsiteX5" fmla="*/ 4486190 w 7016394"/>
              <a:gd name="connsiteY5" fmla="*/ 6496895 h 6541157"/>
              <a:gd name="connsiteX6" fmla="*/ 549 w 7016394"/>
              <a:gd name="connsiteY6" fmla="*/ 3573907 h 6541157"/>
              <a:gd name="connsiteX0" fmla="*/ 549 w 6987059"/>
              <a:gd name="connsiteY0" fmla="*/ 3573907 h 6585834"/>
              <a:gd name="connsiteX1" fmla="*/ 3353347 w 6987059"/>
              <a:gd name="connsiteY1" fmla="*/ 251710 h 6585834"/>
              <a:gd name="connsiteX2" fmla="*/ 6735687 w 6987059"/>
              <a:gd name="connsiteY2" fmla="*/ 1216189 h 6585834"/>
              <a:gd name="connsiteX3" fmla="*/ 5970585 w 6987059"/>
              <a:gd name="connsiteY3" fmla="*/ 3351910 h 6585834"/>
              <a:gd name="connsiteX4" fmla="*/ 6981959 w 6987059"/>
              <a:gd name="connsiteY4" fmla="*/ 5201288 h 6585834"/>
              <a:gd name="connsiteX5" fmla="*/ 4486190 w 6987059"/>
              <a:gd name="connsiteY5" fmla="*/ 6496895 h 6585834"/>
              <a:gd name="connsiteX6" fmla="*/ 549 w 6987059"/>
              <a:gd name="connsiteY6" fmla="*/ 3573907 h 6585834"/>
              <a:gd name="connsiteX0" fmla="*/ 549 w 6987059"/>
              <a:gd name="connsiteY0" fmla="*/ 3573907 h 6568240"/>
              <a:gd name="connsiteX1" fmla="*/ 3353347 w 6987059"/>
              <a:gd name="connsiteY1" fmla="*/ 251710 h 6568240"/>
              <a:gd name="connsiteX2" fmla="*/ 6735687 w 6987059"/>
              <a:gd name="connsiteY2" fmla="*/ 1216189 h 6568240"/>
              <a:gd name="connsiteX3" fmla="*/ 5970585 w 6987059"/>
              <a:gd name="connsiteY3" fmla="*/ 3351910 h 6568240"/>
              <a:gd name="connsiteX4" fmla="*/ 6981959 w 6987059"/>
              <a:gd name="connsiteY4" fmla="*/ 5201288 h 6568240"/>
              <a:gd name="connsiteX5" fmla="*/ 4486190 w 6987059"/>
              <a:gd name="connsiteY5" fmla="*/ 6496895 h 6568240"/>
              <a:gd name="connsiteX6" fmla="*/ 549 w 6987059"/>
              <a:gd name="connsiteY6" fmla="*/ 3573907 h 6568240"/>
              <a:gd name="connsiteX0" fmla="*/ 25 w 7065327"/>
              <a:gd name="connsiteY0" fmla="*/ 3573907 h 6529799"/>
              <a:gd name="connsiteX1" fmla="*/ 3352823 w 7065327"/>
              <a:gd name="connsiteY1" fmla="*/ 251710 h 6529799"/>
              <a:gd name="connsiteX2" fmla="*/ 6735163 w 7065327"/>
              <a:gd name="connsiteY2" fmla="*/ 1216189 h 6529799"/>
              <a:gd name="connsiteX3" fmla="*/ 5970061 w 7065327"/>
              <a:gd name="connsiteY3" fmla="*/ 3351910 h 6529799"/>
              <a:gd name="connsiteX4" fmla="*/ 6981435 w 7065327"/>
              <a:gd name="connsiteY4" fmla="*/ 5201288 h 6529799"/>
              <a:gd name="connsiteX5" fmla="*/ 3402078 w 7065327"/>
              <a:gd name="connsiteY5" fmla="*/ 6496894 h 6529799"/>
              <a:gd name="connsiteX6" fmla="*/ 25 w 7065327"/>
              <a:gd name="connsiteY6" fmla="*/ 3573907 h 6529799"/>
              <a:gd name="connsiteX0" fmla="*/ 25 w 7065327"/>
              <a:gd name="connsiteY0" fmla="*/ 3573907 h 6529799"/>
              <a:gd name="connsiteX1" fmla="*/ 3352823 w 7065327"/>
              <a:gd name="connsiteY1" fmla="*/ 251710 h 6529799"/>
              <a:gd name="connsiteX2" fmla="*/ 6735163 w 7065327"/>
              <a:gd name="connsiteY2" fmla="*/ 1216189 h 6529799"/>
              <a:gd name="connsiteX3" fmla="*/ 5970061 w 7065327"/>
              <a:gd name="connsiteY3" fmla="*/ 3351910 h 6529799"/>
              <a:gd name="connsiteX4" fmla="*/ 6981435 w 7065327"/>
              <a:gd name="connsiteY4" fmla="*/ 5201288 h 6529799"/>
              <a:gd name="connsiteX5" fmla="*/ 3402078 w 7065327"/>
              <a:gd name="connsiteY5" fmla="*/ 6496894 h 6529799"/>
              <a:gd name="connsiteX6" fmla="*/ 25 w 7065327"/>
              <a:gd name="connsiteY6" fmla="*/ 3573907 h 6529799"/>
              <a:gd name="connsiteX0" fmla="*/ 23 w 7065327"/>
              <a:gd name="connsiteY0" fmla="*/ 3237501 h 6532619"/>
              <a:gd name="connsiteX1" fmla="*/ 3352823 w 7065327"/>
              <a:gd name="connsiteY1" fmla="*/ 228735 h 6532619"/>
              <a:gd name="connsiteX2" fmla="*/ 6735163 w 7065327"/>
              <a:gd name="connsiteY2" fmla="*/ 1193214 h 6532619"/>
              <a:gd name="connsiteX3" fmla="*/ 5970061 w 7065327"/>
              <a:gd name="connsiteY3" fmla="*/ 3328935 h 6532619"/>
              <a:gd name="connsiteX4" fmla="*/ 6981435 w 7065327"/>
              <a:gd name="connsiteY4" fmla="*/ 5178313 h 6532619"/>
              <a:gd name="connsiteX5" fmla="*/ 3402078 w 7065327"/>
              <a:gd name="connsiteY5" fmla="*/ 6473919 h 6532619"/>
              <a:gd name="connsiteX6" fmla="*/ 23 w 7065327"/>
              <a:gd name="connsiteY6" fmla="*/ 3237501 h 6532619"/>
              <a:gd name="connsiteX0" fmla="*/ 23 w 7118239"/>
              <a:gd name="connsiteY0" fmla="*/ 3237501 h 6551555"/>
              <a:gd name="connsiteX1" fmla="*/ 3352823 w 7118239"/>
              <a:gd name="connsiteY1" fmla="*/ 228735 h 6551555"/>
              <a:gd name="connsiteX2" fmla="*/ 6735163 w 7118239"/>
              <a:gd name="connsiteY2" fmla="*/ 1193214 h 6551555"/>
              <a:gd name="connsiteX3" fmla="*/ 5970061 w 7118239"/>
              <a:gd name="connsiteY3" fmla="*/ 3328935 h 6551555"/>
              <a:gd name="connsiteX4" fmla="*/ 6981435 w 7118239"/>
              <a:gd name="connsiteY4" fmla="*/ 5178313 h 6551555"/>
              <a:gd name="connsiteX5" fmla="*/ 3402078 w 7118239"/>
              <a:gd name="connsiteY5" fmla="*/ 6473919 h 6551555"/>
              <a:gd name="connsiteX6" fmla="*/ 23 w 7118239"/>
              <a:gd name="connsiteY6" fmla="*/ 3237501 h 6551555"/>
              <a:gd name="connsiteX0" fmla="*/ 23 w 7118239"/>
              <a:gd name="connsiteY0" fmla="*/ 3158770 h 6472824"/>
              <a:gd name="connsiteX1" fmla="*/ 3352823 w 7118239"/>
              <a:gd name="connsiteY1" fmla="*/ 150004 h 6472824"/>
              <a:gd name="connsiteX2" fmla="*/ 6735163 w 7118239"/>
              <a:gd name="connsiteY2" fmla="*/ 1114483 h 6472824"/>
              <a:gd name="connsiteX3" fmla="*/ 5970061 w 7118239"/>
              <a:gd name="connsiteY3" fmla="*/ 3250204 h 6472824"/>
              <a:gd name="connsiteX4" fmla="*/ 6981435 w 7118239"/>
              <a:gd name="connsiteY4" fmla="*/ 5099582 h 6472824"/>
              <a:gd name="connsiteX5" fmla="*/ 3402078 w 7118239"/>
              <a:gd name="connsiteY5" fmla="*/ 6395188 h 6472824"/>
              <a:gd name="connsiteX6" fmla="*/ 23 w 7118239"/>
              <a:gd name="connsiteY6" fmla="*/ 3158770 h 6472824"/>
              <a:gd name="connsiteX0" fmla="*/ 23 w 7118239"/>
              <a:gd name="connsiteY0" fmla="*/ 3158766 h 6472820"/>
              <a:gd name="connsiteX1" fmla="*/ 3352823 w 7118239"/>
              <a:gd name="connsiteY1" fmla="*/ 150000 h 6472820"/>
              <a:gd name="connsiteX2" fmla="*/ 6735163 w 7118239"/>
              <a:gd name="connsiteY2" fmla="*/ 1114479 h 6472820"/>
              <a:gd name="connsiteX3" fmla="*/ 5970061 w 7118239"/>
              <a:gd name="connsiteY3" fmla="*/ 3250200 h 6472820"/>
              <a:gd name="connsiteX4" fmla="*/ 6981435 w 7118239"/>
              <a:gd name="connsiteY4" fmla="*/ 5099578 h 6472820"/>
              <a:gd name="connsiteX5" fmla="*/ 3402078 w 7118239"/>
              <a:gd name="connsiteY5" fmla="*/ 6395184 h 6472820"/>
              <a:gd name="connsiteX6" fmla="*/ 23 w 7118239"/>
              <a:gd name="connsiteY6" fmla="*/ 3158766 h 6472820"/>
              <a:gd name="connsiteX0" fmla="*/ 23 w 7118239"/>
              <a:gd name="connsiteY0" fmla="*/ 3158766 h 6472820"/>
              <a:gd name="connsiteX1" fmla="*/ 3352823 w 7118239"/>
              <a:gd name="connsiteY1" fmla="*/ 150000 h 6472820"/>
              <a:gd name="connsiteX2" fmla="*/ 6735163 w 7118239"/>
              <a:gd name="connsiteY2" fmla="*/ 1114479 h 6472820"/>
              <a:gd name="connsiteX3" fmla="*/ 5970061 w 7118239"/>
              <a:gd name="connsiteY3" fmla="*/ 3250200 h 6472820"/>
              <a:gd name="connsiteX4" fmla="*/ 6981435 w 7118239"/>
              <a:gd name="connsiteY4" fmla="*/ 5099578 h 6472820"/>
              <a:gd name="connsiteX5" fmla="*/ 3402078 w 7118239"/>
              <a:gd name="connsiteY5" fmla="*/ 6395184 h 6472820"/>
              <a:gd name="connsiteX6" fmla="*/ 23 w 7118239"/>
              <a:gd name="connsiteY6" fmla="*/ 3158766 h 6472820"/>
              <a:gd name="connsiteX0" fmla="*/ 23 w 7118239"/>
              <a:gd name="connsiteY0" fmla="*/ 3158766 h 6430008"/>
              <a:gd name="connsiteX1" fmla="*/ 3352823 w 7118239"/>
              <a:gd name="connsiteY1" fmla="*/ 150000 h 6430008"/>
              <a:gd name="connsiteX2" fmla="*/ 6735163 w 7118239"/>
              <a:gd name="connsiteY2" fmla="*/ 1114479 h 6430008"/>
              <a:gd name="connsiteX3" fmla="*/ 5970061 w 7118239"/>
              <a:gd name="connsiteY3" fmla="*/ 3250200 h 6430008"/>
              <a:gd name="connsiteX4" fmla="*/ 6981435 w 7118239"/>
              <a:gd name="connsiteY4" fmla="*/ 5099578 h 6430008"/>
              <a:gd name="connsiteX5" fmla="*/ 3402078 w 7118239"/>
              <a:gd name="connsiteY5" fmla="*/ 6395184 h 6430008"/>
              <a:gd name="connsiteX6" fmla="*/ 23 w 7118239"/>
              <a:gd name="connsiteY6" fmla="*/ 3158766 h 6430008"/>
              <a:gd name="connsiteX0" fmla="*/ 23 w 7118239"/>
              <a:gd name="connsiteY0" fmla="*/ 3008894 h 6280136"/>
              <a:gd name="connsiteX1" fmla="*/ 3352823 w 7118239"/>
              <a:gd name="connsiteY1" fmla="*/ 128 h 6280136"/>
              <a:gd name="connsiteX2" fmla="*/ 5970061 w 7118239"/>
              <a:gd name="connsiteY2" fmla="*/ 3100328 h 6280136"/>
              <a:gd name="connsiteX3" fmla="*/ 6981435 w 7118239"/>
              <a:gd name="connsiteY3" fmla="*/ 4949706 h 6280136"/>
              <a:gd name="connsiteX4" fmla="*/ 3402078 w 7118239"/>
              <a:gd name="connsiteY4" fmla="*/ 6245312 h 6280136"/>
              <a:gd name="connsiteX5" fmla="*/ 23 w 7118239"/>
              <a:gd name="connsiteY5" fmla="*/ 3008894 h 6280136"/>
              <a:gd name="connsiteX0" fmla="*/ 15737 w 7133953"/>
              <a:gd name="connsiteY0" fmla="*/ 3013053 h 6284295"/>
              <a:gd name="connsiteX1" fmla="*/ 3368537 w 7133953"/>
              <a:gd name="connsiteY1" fmla="*/ 4287 h 6284295"/>
              <a:gd name="connsiteX2" fmla="*/ 5985775 w 7133953"/>
              <a:gd name="connsiteY2" fmla="*/ 3104487 h 6284295"/>
              <a:gd name="connsiteX3" fmla="*/ 6997149 w 7133953"/>
              <a:gd name="connsiteY3" fmla="*/ 4953865 h 6284295"/>
              <a:gd name="connsiteX4" fmla="*/ 3417792 w 7133953"/>
              <a:gd name="connsiteY4" fmla="*/ 6249471 h 6284295"/>
              <a:gd name="connsiteX5" fmla="*/ 15737 w 7133953"/>
              <a:gd name="connsiteY5" fmla="*/ 3013053 h 6284295"/>
              <a:gd name="connsiteX0" fmla="*/ 15316 w 7152845"/>
              <a:gd name="connsiteY0" fmla="*/ 3236639 h 6507881"/>
              <a:gd name="connsiteX1" fmla="*/ 4885138 w 7152845"/>
              <a:gd name="connsiteY1" fmla="*/ 3988 h 6507881"/>
              <a:gd name="connsiteX2" fmla="*/ 5985354 w 7152845"/>
              <a:gd name="connsiteY2" fmla="*/ 3328073 h 6507881"/>
              <a:gd name="connsiteX3" fmla="*/ 6996728 w 7152845"/>
              <a:gd name="connsiteY3" fmla="*/ 5177451 h 6507881"/>
              <a:gd name="connsiteX4" fmla="*/ 3417371 w 7152845"/>
              <a:gd name="connsiteY4" fmla="*/ 6473057 h 6507881"/>
              <a:gd name="connsiteX5" fmla="*/ 15316 w 7152845"/>
              <a:gd name="connsiteY5" fmla="*/ 3236639 h 6507881"/>
              <a:gd name="connsiteX0" fmla="*/ 15316 w 7152845"/>
              <a:gd name="connsiteY0" fmla="*/ 3232732 h 6503974"/>
              <a:gd name="connsiteX1" fmla="*/ 4885138 w 7152845"/>
              <a:gd name="connsiteY1" fmla="*/ 81 h 6503974"/>
              <a:gd name="connsiteX2" fmla="*/ 5985354 w 7152845"/>
              <a:gd name="connsiteY2" fmla="*/ 3324166 h 6503974"/>
              <a:gd name="connsiteX3" fmla="*/ 6996728 w 7152845"/>
              <a:gd name="connsiteY3" fmla="*/ 5173544 h 6503974"/>
              <a:gd name="connsiteX4" fmla="*/ 3417371 w 7152845"/>
              <a:gd name="connsiteY4" fmla="*/ 6469150 h 6503974"/>
              <a:gd name="connsiteX5" fmla="*/ 15316 w 7152845"/>
              <a:gd name="connsiteY5" fmla="*/ 3232732 h 6503974"/>
              <a:gd name="connsiteX0" fmla="*/ 16566 w 6907236"/>
              <a:gd name="connsiteY0" fmla="*/ 3232732 h 6682067"/>
              <a:gd name="connsiteX1" fmla="*/ 4886388 w 6907236"/>
              <a:gd name="connsiteY1" fmla="*/ 81 h 6682067"/>
              <a:gd name="connsiteX2" fmla="*/ 5986604 w 6907236"/>
              <a:gd name="connsiteY2" fmla="*/ 3324166 h 6682067"/>
              <a:gd name="connsiteX3" fmla="*/ 6727080 w 6907236"/>
              <a:gd name="connsiteY3" fmla="*/ 5800415 h 6682067"/>
              <a:gd name="connsiteX4" fmla="*/ 3418621 w 6907236"/>
              <a:gd name="connsiteY4" fmla="*/ 6469150 h 6682067"/>
              <a:gd name="connsiteX5" fmla="*/ 16566 w 6907236"/>
              <a:gd name="connsiteY5" fmla="*/ 3232732 h 6682067"/>
              <a:gd name="connsiteX0" fmla="*/ 225 w 6890895"/>
              <a:gd name="connsiteY0" fmla="*/ 3232802 h 6682137"/>
              <a:gd name="connsiteX1" fmla="*/ 4870047 w 6890895"/>
              <a:gd name="connsiteY1" fmla="*/ 151 h 6682137"/>
              <a:gd name="connsiteX2" fmla="*/ 5970263 w 6890895"/>
              <a:gd name="connsiteY2" fmla="*/ 3324236 h 6682137"/>
              <a:gd name="connsiteX3" fmla="*/ 6710739 w 6890895"/>
              <a:gd name="connsiteY3" fmla="*/ 5800485 h 6682137"/>
              <a:gd name="connsiteX4" fmla="*/ 3402280 w 6890895"/>
              <a:gd name="connsiteY4" fmla="*/ 6469220 h 6682137"/>
              <a:gd name="connsiteX5" fmla="*/ 225 w 6890895"/>
              <a:gd name="connsiteY5" fmla="*/ 3232802 h 6682137"/>
              <a:gd name="connsiteX0" fmla="*/ 225 w 6890895"/>
              <a:gd name="connsiteY0" fmla="*/ 3232802 h 6562740"/>
              <a:gd name="connsiteX1" fmla="*/ 4870047 w 6890895"/>
              <a:gd name="connsiteY1" fmla="*/ 151 h 6562740"/>
              <a:gd name="connsiteX2" fmla="*/ 5970263 w 6890895"/>
              <a:gd name="connsiteY2" fmla="*/ 3324236 h 6562740"/>
              <a:gd name="connsiteX3" fmla="*/ 6710739 w 6890895"/>
              <a:gd name="connsiteY3" fmla="*/ 5800485 h 6562740"/>
              <a:gd name="connsiteX4" fmla="*/ 3402280 w 6890895"/>
              <a:gd name="connsiteY4" fmla="*/ 6469220 h 6562740"/>
              <a:gd name="connsiteX5" fmla="*/ 225 w 6890895"/>
              <a:gd name="connsiteY5" fmla="*/ 3232802 h 6562740"/>
              <a:gd name="connsiteX0" fmla="*/ 225 w 6807595"/>
              <a:gd name="connsiteY0" fmla="*/ 3232802 h 6519908"/>
              <a:gd name="connsiteX1" fmla="*/ 4870047 w 6807595"/>
              <a:gd name="connsiteY1" fmla="*/ 151 h 6519908"/>
              <a:gd name="connsiteX2" fmla="*/ 5970263 w 6807595"/>
              <a:gd name="connsiteY2" fmla="*/ 3324236 h 6519908"/>
              <a:gd name="connsiteX3" fmla="*/ 6710739 w 6807595"/>
              <a:gd name="connsiteY3" fmla="*/ 5800485 h 6519908"/>
              <a:gd name="connsiteX4" fmla="*/ 3402280 w 6807595"/>
              <a:gd name="connsiteY4" fmla="*/ 6469220 h 6519908"/>
              <a:gd name="connsiteX5" fmla="*/ 225 w 6807595"/>
              <a:gd name="connsiteY5" fmla="*/ 3232802 h 6519908"/>
              <a:gd name="connsiteX0" fmla="*/ 225 w 6803373"/>
              <a:gd name="connsiteY0" fmla="*/ 3232802 h 6519908"/>
              <a:gd name="connsiteX1" fmla="*/ 4870047 w 6803373"/>
              <a:gd name="connsiteY1" fmla="*/ 151 h 6519908"/>
              <a:gd name="connsiteX2" fmla="*/ 5970263 w 6803373"/>
              <a:gd name="connsiteY2" fmla="*/ 3324236 h 6519908"/>
              <a:gd name="connsiteX3" fmla="*/ 6710739 w 6803373"/>
              <a:gd name="connsiteY3" fmla="*/ 5800485 h 6519908"/>
              <a:gd name="connsiteX4" fmla="*/ 3402280 w 6803373"/>
              <a:gd name="connsiteY4" fmla="*/ 6469220 h 6519908"/>
              <a:gd name="connsiteX5" fmla="*/ 225 w 6803373"/>
              <a:gd name="connsiteY5" fmla="*/ 3232802 h 651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3373" h="6519908">
                <a:moveTo>
                  <a:pt x="225" y="3232802"/>
                </a:moveTo>
                <a:cubicBezTo>
                  <a:pt x="-26040" y="1124770"/>
                  <a:pt x="2249667" y="-15087"/>
                  <a:pt x="4870047" y="151"/>
                </a:cubicBezTo>
                <a:cubicBezTo>
                  <a:pt x="7490427" y="15389"/>
                  <a:pt x="5717664" y="2133633"/>
                  <a:pt x="5970263" y="3324236"/>
                </a:cubicBezTo>
                <a:cubicBezTo>
                  <a:pt x="6222862" y="4514839"/>
                  <a:pt x="7084560" y="5186767"/>
                  <a:pt x="6710739" y="5800485"/>
                </a:cubicBezTo>
                <a:cubicBezTo>
                  <a:pt x="6336918" y="6414203"/>
                  <a:pt x="4954134" y="6628508"/>
                  <a:pt x="3402280" y="6469220"/>
                </a:cubicBezTo>
                <a:cubicBezTo>
                  <a:pt x="1850426" y="6309932"/>
                  <a:pt x="26490" y="5340834"/>
                  <a:pt x="225" y="3232802"/>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1">
            <a:extLst>
              <a:ext uri="{FF2B5EF4-FFF2-40B4-BE49-F238E27FC236}">
                <a16:creationId xmlns:a16="http://schemas.microsoft.com/office/drawing/2014/main" id="{FDA2A077-2975-404F-BA78-9D0855ED9032}"/>
              </a:ext>
            </a:extLst>
          </p:cNvPr>
          <p:cNvSpPr/>
          <p:nvPr userDrawn="1"/>
        </p:nvSpPr>
        <p:spPr>
          <a:xfrm>
            <a:off x="7301526" y="2744348"/>
            <a:ext cx="1867127" cy="1823802"/>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8 w 7945220"/>
              <a:gd name="connsiteY0" fmla="*/ 3715196 h 7055325"/>
              <a:gd name="connsiteX1" fmla="*/ 4485668 w 7945220"/>
              <a:gd name="connsiteY1" fmla="*/ 661654 h 7055325"/>
              <a:gd name="connsiteX2" fmla="*/ 7945148 w 7945220"/>
              <a:gd name="connsiteY2" fmla="*/ 3806636 h 7055325"/>
              <a:gd name="connsiteX3" fmla="*/ 4485668 w 7945220"/>
              <a:gd name="connsiteY3" fmla="*/ 6951618 h 7055325"/>
              <a:gd name="connsiteX4" fmla="*/ 28 w 7945220"/>
              <a:gd name="connsiteY4" fmla="*/ 3715196 h 7055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220" h="7055325">
                <a:moveTo>
                  <a:pt x="28" y="3715196"/>
                </a:moveTo>
                <a:cubicBezTo>
                  <a:pt x="10188" y="1470270"/>
                  <a:pt x="2051614" y="-1286158"/>
                  <a:pt x="4485668" y="661654"/>
                </a:cubicBezTo>
                <a:cubicBezTo>
                  <a:pt x="6919722" y="2609466"/>
                  <a:pt x="7955308" y="2069710"/>
                  <a:pt x="7945148" y="3806636"/>
                </a:cubicBezTo>
                <a:cubicBezTo>
                  <a:pt x="7934988" y="5543562"/>
                  <a:pt x="6307695" y="6428378"/>
                  <a:pt x="4485668" y="6951618"/>
                </a:cubicBezTo>
                <a:cubicBezTo>
                  <a:pt x="2663641" y="7474858"/>
                  <a:pt x="-10132" y="5960122"/>
                  <a:pt x="28" y="3715196"/>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
            <a:extLst>
              <a:ext uri="{FF2B5EF4-FFF2-40B4-BE49-F238E27FC236}">
                <a16:creationId xmlns:a16="http://schemas.microsoft.com/office/drawing/2014/main" id="{5AAC75E4-166D-574A-99B4-4BE2F0881863}"/>
              </a:ext>
            </a:extLst>
          </p:cNvPr>
          <p:cNvSpPr/>
          <p:nvPr userDrawn="1"/>
        </p:nvSpPr>
        <p:spPr>
          <a:xfrm>
            <a:off x="9744773" y="2842955"/>
            <a:ext cx="2169251" cy="1626589"/>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284594 w 8229773"/>
              <a:gd name="connsiteY0" fmla="*/ 3136031 h 6433472"/>
              <a:gd name="connsiteX1" fmla="*/ 4770234 w 8229773"/>
              <a:gd name="connsiteY1" fmla="*/ 82489 h 6433472"/>
              <a:gd name="connsiteX2" fmla="*/ 8229714 w 8229773"/>
              <a:gd name="connsiteY2" fmla="*/ 3227471 h 6433472"/>
              <a:gd name="connsiteX3" fmla="*/ 4770234 w 8229773"/>
              <a:gd name="connsiteY3" fmla="*/ 6372453 h 6433472"/>
              <a:gd name="connsiteX4" fmla="*/ 284594 w 8229773"/>
              <a:gd name="connsiteY4" fmla="*/ 3136031 h 6433472"/>
              <a:gd name="connsiteX0" fmla="*/ 284594 w 8689126"/>
              <a:gd name="connsiteY0" fmla="*/ 3136031 h 6433472"/>
              <a:gd name="connsiteX1" fmla="*/ 4770234 w 8689126"/>
              <a:gd name="connsiteY1" fmla="*/ 82489 h 6433472"/>
              <a:gd name="connsiteX2" fmla="*/ 8229714 w 8689126"/>
              <a:gd name="connsiteY2" fmla="*/ 3227471 h 6433472"/>
              <a:gd name="connsiteX3" fmla="*/ 4770234 w 8689126"/>
              <a:gd name="connsiteY3" fmla="*/ 6372453 h 6433472"/>
              <a:gd name="connsiteX4" fmla="*/ 284594 w 8689126"/>
              <a:gd name="connsiteY4" fmla="*/ 3136031 h 6433472"/>
              <a:gd name="connsiteX0" fmla="*/ 402688 w 8807220"/>
              <a:gd name="connsiteY0" fmla="*/ 3136031 h 6374099"/>
              <a:gd name="connsiteX1" fmla="*/ 4888328 w 8807220"/>
              <a:gd name="connsiteY1" fmla="*/ 82489 h 6374099"/>
              <a:gd name="connsiteX2" fmla="*/ 8347808 w 8807220"/>
              <a:gd name="connsiteY2" fmla="*/ 3227471 h 6374099"/>
              <a:gd name="connsiteX3" fmla="*/ 4888328 w 8807220"/>
              <a:gd name="connsiteY3" fmla="*/ 6372453 h 6374099"/>
              <a:gd name="connsiteX4" fmla="*/ 402688 w 8807220"/>
              <a:gd name="connsiteY4" fmla="*/ 3136031 h 6374099"/>
              <a:gd name="connsiteX0" fmla="*/ 402688 w 8915880"/>
              <a:gd name="connsiteY0" fmla="*/ 3057339 h 6295403"/>
              <a:gd name="connsiteX1" fmla="*/ 4888328 w 8915880"/>
              <a:gd name="connsiteY1" fmla="*/ 3797 h 6295403"/>
              <a:gd name="connsiteX2" fmla="*/ 8347808 w 8915880"/>
              <a:gd name="connsiteY2" fmla="*/ 3148779 h 6295403"/>
              <a:gd name="connsiteX3" fmla="*/ 4888328 w 8915880"/>
              <a:gd name="connsiteY3" fmla="*/ 6293761 h 6295403"/>
              <a:gd name="connsiteX4" fmla="*/ 402688 w 8915880"/>
              <a:gd name="connsiteY4" fmla="*/ 3057339 h 6295403"/>
              <a:gd name="connsiteX0" fmla="*/ 402688 w 9146352"/>
              <a:gd name="connsiteY0" fmla="*/ 3054952 h 6293020"/>
              <a:gd name="connsiteX1" fmla="*/ 4888328 w 9146352"/>
              <a:gd name="connsiteY1" fmla="*/ 1410 h 6293020"/>
              <a:gd name="connsiteX2" fmla="*/ 8347808 w 9146352"/>
              <a:gd name="connsiteY2" fmla="*/ 3146392 h 6293020"/>
              <a:gd name="connsiteX3" fmla="*/ 4888328 w 9146352"/>
              <a:gd name="connsiteY3" fmla="*/ 6291374 h 6293020"/>
              <a:gd name="connsiteX4" fmla="*/ 402688 w 9146352"/>
              <a:gd name="connsiteY4" fmla="*/ 3054952 h 6293020"/>
              <a:gd name="connsiteX0" fmla="*/ 402688 w 8877518"/>
              <a:gd name="connsiteY0" fmla="*/ 3054952 h 6293016"/>
              <a:gd name="connsiteX1" fmla="*/ 4888328 w 8877518"/>
              <a:gd name="connsiteY1" fmla="*/ 1410 h 6293016"/>
              <a:gd name="connsiteX2" fmla="*/ 8347808 w 8877518"/>
              <a:gd name="connsiteY2" fmla="*/ 3146392 h 6293016"/>
              <a:gd name="connsiteX3" fmla="*/ 4888328 w 8877518"/>
              <a:gd name="connsiteY3" fmla="*/ 6291374 h 6293016"/>
              <a:gd name="connsiteX4" fmla="*/ 402688 w 8877518"/>
              <a:gd name="connsiteY4" fmla="*/ 3054952 h 6293016"/>
              <a:gd name="connsiteX0" fmla="*/ 27463 w 8502293"/>
              <a:gd name="connsiteY0" fmla="*/ 3055265 h 6293666"/>
              <a:gd name="connsiteX1" fmla="*/ 4513103 w 8502293"/>
              <a:gd name="connsiteY1" fmla="*/ 1723 h 6293666"/>
              <a:gd name="connsiteX2" fmla="*/ 7972583 w 8502293"/>
              <a:gd name="connsiteY2" fmla="*/ 3146705 h 6293666"/>
              <a:gd name="connsiteX3" fmla="*/ 4513103 w 8502293"/>
              <a:gd name="connsiteY3" fmla="*/ 6291687 h 6293666"/>
              <a:gd name="connsiteX4" fmla="*/ 27463 w 8502293"/>
              <a:gd name="connsiteY4" fmla="*/ 3055265 h 6293666"/>
              <a:gd name="connsiteX0" fmla="*/ 27463 w 7983629"/>
              <a:gd name="connsiteY0" fmla="*/ 3055269 h 6293670"/>
              <a:gd name="connsiteX1" fmla="*/ 4513103 w 7983629"/>
              <a:gd name="connsiteY1" fmla="*/ 1727 h 6293670"/>
              <a:gd name="connsiteX2" fmla="*/ 7972583 w 7983629"/>
              <a:gd name="connsiteY2" fmla="*/ 3146709 h 6293670"/>
              <a:gd name="connsiteX3" fmla="*/ 4513103 w 7983629"/>
              <a:gd name="connsiteY3" fmla="*/ 6291691 h 6293670"/>
              <a:gd name="connsiteX4" fmla="*/ 27463 w 7983629"/>
              <a:gd name="connsiteY4" fmla="*/ 3055269 h 6293670"/>
              <a:gd name="connsiteX0" fmla="*/ 27463 w 8001025"/>
              <a:gd name="connsiteY0" fmla="*/ 3055269 h 6293670"/>
              <a:gd name="connsiteX1" fmla="*/ 4513103 w 8001025"/>
              <a:gd name="connsiteY1" fmla="*/ 1727 h 6293670"/>
              <a:gd name="connsiteX2" fmla="*/ 7972583 w 8001025"/>
              <a:gd name="connsiteY2" fmla="*/ 3146709 h 6293670"/>
              <a:gd name="connsiteX3" fmla="*/ 4513103 w 8001025"/>
              <a:gd name="connsiteY3" fmla="*/ 6291691 h 6293670"/>
              <a:gd name="connsiteX4" fmla="*/ 27463 w 8001025"/>
              <a:gd name="connsiteY4" fmla="*/ 3055269 h 6293670"/>
              <a:gd name="connsiteX0" fmla="*/ 27463 w 8827067"/>
              <a:gd name="connsiteY0" fmla="*/ 3055269 h 6291891"/>
              <a:gd name="connsiteX1" fmla="*/ 4513103 w 8827067"/>
              <a:gd name="connsiteY1" fmla="*/ 1727 h 6291891"/>
              <a:gd name="connsiteX2" fmla="*/ 8823753 w 8827067"/>
              <a:gd name="connsiteY2" fmla="*/ 3201976 h 6291891"/>
              <a:gd name="connsiteX3" fmla="*/ 4513103 w 8827067"/>
              <a:gd name="connsiteY3" fmla="*/ 6291691 h 6291891"/>
              <a:gd name="connsiteX4" fmla="*/ 27463 w 8827067"/>
              <a:gd name="connsiteY4" fmla="*/ 3055269 h 6291891"/>
              <a:gd name="connsiteX0" fmla="*/ 27463 w 8827067"/>
              <a:gd name="connsiteY0" fmla="*/ 3055269 h 6292270"/>
              <a:gd name="connsiteX1" fmla="*/ 4513103 w 8827067"/>
              <a:gd name="connsiteY1" fmla="*/ 1727 h 6292270"/>
              <a:gd name="connsiteX2" fmla="*/ 8823753 w 8827067"/>
              <a:gd name="connsiteY2" fmla="*/ 3201976 h 6292270"/>
              <a:gd name="connsiteX3" fmla="*/ 4513103 w 8827067"/>
              <a:gd name="connsiteY3" fmla="*/ 6291691 h 6292270"/>
              <a:gd name="connsiteX4" fmla="*/ 27463 w 8827067"/>
              <a:gd name="connsiteY4" fmla="*/ 3055269 h 6292270"/>
              <a:gd name="connsiteX0" fmla="*/ 27463 w 8827067"/>
              <a:gd name="connsiteY0" fmla="*/ 3060658 h 6297659"/>
              <a:gd name="connsiteX1" fmla="*/ 4513103 w 8827067"/>
              <a:gd name="connsiteY1" fmla="*/ 7116 h 6297659"/>
              <a:gd name="connsiteX2" fmla="*/ 8823753 w 8827067"/>
              <a:gd name="connsiteY2" fmla="*/ 3207365 h 6297659"/>
              <a:gd name="connsiteX3" fmla="*/ 4513103 w 8827067"/>
              <a:gd name="connsiteY3" fmla="*/ 6297080 h 6297659"/>
              <a:gd name="connsiteX4" fmla="*/ 27463 w 8827067"/>
              <a:gd name="connsiteY4" fmla="*/ 3060658 h 6297659"/>
              <a:gd name="connsiteX0" fmla="*/ 15958 w 9241224"/>
              <a:gd name="connsiteY0" fmla="*/ 3115268 h 6296649"/>
              <a:gd name="connsiteX1" fmla="*/ 4927184 w 9241224"/>
              <a:gd name="connsiteY1" fmla="*/ 6454 h 6296649"/>
              <a:gd name="connsiteX2" fmla="*/ 9237834 w 9241224"/>
              <a:gd name="connsiteY2" fmla="*/ 3206703 h 6296649"/>
              <a:gd name="connsiteX3" fmla="*/ 4927184 w 9241224"/>
              <a:gd name="connsiteY3" fmla="*/ 6296418 h 6296649"/>
              <a:gd name="connsiteX4" fmla="*/ 15958 w 9241224"/>
              <a:gd name="connsiteY4" fmla="*/ 3115268 h 6296649"/>
              <a:gd name="connsiteX0" fmla="*/ 5588 w 9230854"/>
              <a:gd name="connsiteY0" fmla="*/ 3111032 h 6292413"/>
              <a:gd name="connsiteX1" fmla="*/ 4916814 w 9230854"/>
              <a:gd name="connsiteY1" fmla="*/ 2218 h 6292413"/>
              <a:gd name="connsiteX2" fmla="*/ 9227464 w 9230854"/>
              <a:gd name="connsiteY2" fmla="*/ 3202467 h 6292413"/>
              <a:gd name="connsiteX3" fmla="*/ 4916814 w 9230854"/>
              <a:gd name="connsiteY3" fmla="*/ 6292182 h 6292413"/>
              <a:gd name="connsiteX4" fmla="*/ 5588 w 9230854"/>
              <a:gd name="connsiteY4" fmla="*/ 3111032 h 6292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0854" h="6292413">
                <a:moveTo>
                  <a:pt x="5588" y="3111032"/>
                </a:moveTo>
                <a:cubicBezTo>
                  <a:pt x="-64285" y="1404127"/>
                  <a:pt x="463350" y="-64987"/>
                  <a:pt x="4916814" y="2218"/>
                </a:cubicBezTo>
                <a:cubicBezTo>
                  <a:pt x="7744898" y="203752"/>
                  <a:pt x="9111408" y="832371"/>
                  <a:pt x="9227464" y="3202467"/>
                </a:cubicBezTo>
                <a:cubicBezTo>
                  <a:pt x="9343520" y="5572563"/>
                  <a:pt x="6453793" y="6307421"/>
                  <a:pt x="4916814" y="6292182"/>
                </a:cubicBezTo>
                <a:cubicBezTo>
                  <a:pt x="3379835" y="6276943"/>
                  <a:pt x="75461" y="4817937"/>
                  <a:pt x="5588" y="3111032"/>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
            <a:extLst>
              <a:ext uri="{FF2B5EF4-FFF2-40B4-BE49-F238E27FC236}">
                <a16:creationId xmlns:a16="http://schemas.microsoft.com/office/drawing/2014/main" id="{62A1CDBA-4FF3-374D-8539-8E683DA1BFDC}"/>
              </a:ext>
            </a:extLst>
          </p:cNvPr>
          <p:cNvSpPr/>
          <p:nvPr userDrawn="1"/>
        </p:nvSpPr>
        <p:spPr>
          <a:xfrm>
            <a:off x="4880084" y="2778268"/>
            <a:ext cx="1845322" cy="1755963"/>
          </a:xfrm>
          <a:custGeom>
            <a:avLst/>
            <a:gdLst>
              <a:gd name="connsiteX0" fmla="*/ 0 w 6918960"/>
              <a:gd name="connsiteY0" fmla="*/ 3144982 h 6289964"/>
              <a:gd name="connsiteX1" fmla="*/ 3459480 w 6918960"/>
              <a:gd name="connsiteY1" fmla="*/ 0 h 6289964"/>
              <a:gd name="connsiteX2" fmla="*/ 6918960 w 6918960"/>
              <a:gd name="connsiteY2" fmla="*/ 3144982 h 6289964"/>
              <a:gd name="connsiteX3" fmla="*/ 3459480 w 6918960"/>
              <a:gd name="connsiteY3" fmla="*/ 6289964 h 6289964"/>
              <a:gd name="connsiteX4" fmla="*/ 0 w 6918960"/>
              <a:gd name="connsiteY4" fmla="*/ 3144982 h 6289964"/>
              <a:gd name="connsiteX0" fmla="*/ 0 w 7945120"/>
              <a:gd name="connsiteY0" fmla="*/ 3053671 h 6290214"/>
              <a:gd name="connsiteX1" fmla="*/ 4485640 w 7945120"/>
              <a:gd name="connsiteY1" fmla="*/ 129 h 6290214"/>
              <a:gd name="connsiteX2" fmla="*/ 7945120 w 7945120"/>
              <a:gd name="connsiteY2" fmla="*/ 3145111 h 6290214"/>
              <a:gd name="connsiteX3" fmla="*/ 4485640 w 7945120"/>
              <a:gd name="connsiteY3" fmla="*/ 6290093 h 6290214"/>
              <a:gd name="connsiteX4" fmla="*/ 0 w 7945120"/>
              <a:gd name="connsiteY4" fmla="*/ 3053671 h 6290214"/>
              <a:gd name="connsiteX0" fmla="*/ 24 w 7945144"/>
              <a:gd name="connsiteY0" fmla="*/ 3053749 h 6290292"/>
              <a:gd name="connsiteX1" fmla="*/ 4485664 w 7945144"/>
              <a:gd name="connsiteY1" fmla="*/ 207 h 6290292"/>
              <a:gd name="connsiteX2" fmla="*/ 7945144 w 7945144"/>
              <a:gd name="connsiteY2" fmla="*/ 3145189 h 6290292"/>
              <a:gd name="connsiteX3" fmla="*/ 4485664 w 7945144"/>
              <a:gd name="connsiteY3" fmla="*/ 6290171 h 6290292"/>
              <a:gd name="connsiteX4" fmla="*/ 24 w 7945144"/>
              <a:gd name="connsiteY4" fmla="*/ 3053749 h 6290292"/>
              <a:gd name="connsiteX0" fmla="*/ 24 w 7945144"/>
              <a:gd name="connsiteY0" fmla="*/ 3193660 h 6430203"/>
              <a:gd name="connsiteX1" fmla="*/ 4485664 w 7945144"/>
              <a:gd name="connsiteY1" fmla="*/ 140118 h 6430203"/>
              <a:gd name="connsiteX2" fmla="*/ 7945144 w 7945144"/>
              <a:gd name="connsiteY2" fmla="*/ 3285100 h 6430203"/>
              <a:gd name="connsiteX3" fmla="*/ 4485664 w 7945144"/>
              <a:gd name="connsiteY3" fmla="*/ 6430082 h 6430203"/>
              <a:gd name="connsiteX4" fmla="*/ 24 w 7945144"/>
              <a:gd name="connsiteY4" fmla="*/ 3193660 h 6430203"/>
              <a:gd name="connsiteX0" fmla="*/ 24 w 7947149"/>
              <a:gd name="connsiteY0" fmla="*/ 3193660 h 6430167"/>
              <a:gd name="connsiteX1" fmla="*/ 4485664 w 7947149"/>
              <a:gd name="connsiteY1" fmla="*/ 140118 h 6430167"/>
              <a:gd name="connsiteX2" fmla="*/ 7945144 w 7947149"/>
              <a:gd name="connsiteY2" fmla="*/ 3285100 h 6430167"/>
              <a:gd name="connsiteX3" fmla="*/ 4485664 w 7947149"/>
              <a:gd name="connsiteY3" fmla="*/ 6430082 h 6430167"/>
              <a:gd name="connsiteX4" fmla="*/ 24 w 7947149"/>
              <a:gd name="connsiteY4" fmla="*/ 3193660 h 6430167"/>
              <a:gd name="connsiteX0" fmla="*/ 23 w 7947148"/>
              <a:gd name="connsiteY0" fmla="*/ 3193660 h 6459891"/>
              <a:gd name="connsiteX1" fmla="*/ 4485663 w 7947148"/>
              <a:gd name="connsiteY1" fmla="*/ 140118 h 6459891"/>
              <a:gd name="connsiteX2" fmla="*/ 7945143 w 7947148"/>
              <a:gd name="connsiteY2" fmla="*/ 3285100 h 6459891"/>
              <a:gd name="connsiteX3" fmla="*/ 4485663 w 7947148"/>
              <a:gd name="connsiteY3" fmla="*/ 6430082 h 6459891"/>
              <a:gd name="connsiteX4" fmla="*/ 23 w 7947148"/>
              <a:gd name="connsiteY4" fmla="*/ 3193660 h 6459891"/>
              <a:gd name="connsiteX0" fmla="*/ 28 w 7947153"/>
              <a:gd name="connsiteY0" fmla="*/ 3193660 h 6533789"/>
              <a:gd name="connsiteX1" fmla="*/ 4485668 w 7947153"/>
              <a:gd name="connsiteY1" fmla="*/ 140118 h 6533789"/>
              <a:gd name="connsiteX2" fmla="*/ 7945148 w 7947153"/>
              <a:gd name="connsiteY2" fmla="*/ 3285100 h 6533789"/>
              <a:gd name="connsiteX3" fmla="*/ 4485668 w 7947153"/>
              <a:gd name="connsiteY3" fmla="*/ 6430082 h 6533789"/>
              <a:gd name="connsiteX4" fmla="*/ 28 w 7947153"/>
              <a:gd name="connsiteY4" fmla="*/ 3193660 h 6533789"/>
              <a:gd name="connsiteX0" fmla="*/ 28 w 7945207"/>
              <a:gd name="connsiteY0" fmla="*/ 3193660 h 6533789"/>
              <a:gd name="connsiteX1" fmla="*/ 4485668 w 7945207"/>
              <a:gd name="connsiteY1" fmla="*/ 140118 h 6533789"/>
              <a:gd name="connsiteX2" fmla="*/ 7945148 w 7945207"/>
              <a:gd name="connsiteY2" fmla="*/ 3285100 h 6533789"/>
              <a:gd name="connsiteX3" fmla="*/ 4485668 w 7945207"/>
              <a:gd name="connsiteY3" fmla="*/ 6430082 h 6533789"/>
              <a:gd name="connsiteX4" fmla="*/ 28 w 7945207"/>
              <a:gd name="connsiteY4" fmla="*/ 3193660 h 6533789"/>
              <a:gd name="connsiteX0" fmla="*/ 143619 w 8088798"/>
              <a:gd name="connsiteY0" fmla="*/ 3193660 h 6575584"/>
              <a:gd name="connsiteX1" fmla="*/ 4629259 w 8088798"/>
              <a:gd name="connsiteY1" fmla="*/ 140118 h 6575584"/>
              <a:gd name="connsiteX2" fmla="*/ 8088739 w 8088798"/>
              <a:gd name="connsiteY2" fmla="*/ 3285100 h 6575584"/>
              <a:gd name="connsiteX3" fmla="*/ 4629259 w 8088798"/>
              <a:gd name="connsiteY3" fmla="*/ 6430082 h 6575584"/>
              <a:gd name="connsiteX4" fmla="*/ 1428267 w 8088798"/>
              <a:gd name="connsiteY4" fmla="*/ 5761356 h 6575584"/>
              <a:gd name="connsiteX5" fmla="*/ 143619 w 8088798"/>
              <a:gd name="connsiteY5" fmla="*/ 3193660 h 6575584"/>
              <a:gd name="connsiteX0" fmla="*/ 34602 w 7979781"/>
              <a:gd name="connsiteY0" fmla="*/ 3135807 h 6397677"/>
              <a:gd name="connsiteX1" fmla="*/ 4520242 w 7979781"/>
              <a:gd name="connsiteY1" fmla="*/ 82265 h 6397677"/>
              <a:gd name="connsiteX2" fmla="*/ 7979722 w 7979781"/>
              <a:gd name="connsiteY2" fmla="*/ 3227247 h 6397677"/>
              <a:gd name="connsiteX3" fmla="*/ 4520242 w 7979781"/>
              <a:gd name="connsiteY3" fmla="*/ 6372229 h 6397677"/>
              <a:gd name="connsiteX4" fmla="*/ 2550599 w 7979781"/>
              <a:gd name="connsiteY4" fmla="*/ 4628873 h 6397677"/>
              <a:gd name="connsiteX5" fmla="*/ 34602 w 7979781"/>
              <a:gd name="connsiteY5" fmla="*/ 3135807 h 6397677"/>
              <a:gd name="connsiteX0" fmla="*/ 1342 w 7946521"/>
              <a:gd name="connsiteY0" fmla="*/ 3195888 h 6457758"/>
              <a:gd name="connsiteX1" fmla="*/ 4486982 w 7946521"/>
              <a:gd name="connsiteY1" fmla="*/ 142346 h 6457758"/>
              <a:gd name="connsiteX2" fmla="*/ 7946462 w 7946521"/>
              <a:gd name="connsiteY2" fmla="*/ 3287328 h 6457758"/>
              <a:gd name="connsiteX3" fmla="*/ 4486982 w 7946521"/>
              <a:gd name="connsiteY3" fmla="*/ 6432310 h 6457758"/>
              <a:gd name="connsiteX4" fmla="*/ 2517339 w 7946521"/>
              <a:gd name="connsiteY4" fmla="*/ 4688954 h 6457758"/>
              <a:gd name="connsiteX5" fmla="*/ 1342 w 7946521"/>
              <a:gd name="connsiteY5" fmla="*/ 3195888 h 6457758"/>
              <a:gd name="connsiteX0" fmla="*/ 36904 w 7982083"/>
              <a:gd name="connsiteY0" fmla="*/ 3137060 h 6417592"/>
              <a:gd name="connsiteX1" fmla="*/ 4522544 w 7982083"/>
              <a:gd name="connsiteY1" fmla="*/ 83518 h 6417592"/>
              <a:gd name="connsiteX2" fmla="*/ 7982024 w 7982083"/>
              <a:gd name="connsiteY2" fmla="*/ 3228500 h 6417592"/>
              <a:gd name="connsiteX3" fmla="*/ 4522544 w 7982083"/>
              <a:gd name="connsiteY3" fmla="*/ 6373482 h 6417592"/>
              <a:gd name="connsiteX4" fmla="*/ 2503646 w 7982083"/>
              <a:gd name="connsiteY4" fmla="*/ 4943557 h 6417592"/>
              <a:gd name="connsiteX5" fmla="*/ 36904 w 7982083"/>
              <a:gd name="connsiteY5" fmla="*/ 3137060 h 6417592"/>
              <a:gd name="connsiteX0" fmla="*/ 36904 w 8560364"/>
              <a:gd name="connsiteY0" fmla="*/ 3137060 h 6417592"/>
              <a:gd name="connsiteX1" fmla="*/ 4522544 w 8560364"/>
              <a:gd name="connsiteY1" fmla="*/ 83518 h 6417592"/>
              <a:gd name="connsiteX2" fmla="*/ 7982024 w 8560364"/>
              <a:gd name="connsiteY2" fmla="*/ 3228500 h 6417592"/>
              <a:gd name="connsiteX3" fmla="*/ 4522544 w 8560364"/>
              <a:gd name="connsiteY3" fmla="*/ 6373482 h 6417592"/>
              <a:gd name="connsiteX4" fmla="*/ 2503646 w 8560364"/>
              <a:gd name="connsiteY4" fmla="*/ 4943557 h 6417592"/>
              <a:gd name="connsiteX5" fmla="*/ 36904 w 8560364"/>
              <a:gd name="connsiteY5" fmla="*/ 3137060 h 6417592"/>
              <a:gd name="connsiteX0" fmla="*/ 36904 w 8560364"/>
              <a:gd name="connsiteY0" fmla="*/ 3345547 h 6626079"/>
              <a:gd name="connsiteX1" fmla="*/ 4522544 w 8560364"/>
              <a:gd name="connsiteY1" fmla="*/ 292005 h 6626079"/>
              <a:gd name="connsiteX2" fmla="*/ 7982024 w 8560364"/>
              <a:gd name="connsiteY2" fmla="*/ 3436987 h 6626079"/>
              <a:gd name="connsiteX3" fmla="*/ 4522544 w 8560364"/>
              <a:gd name="connsiteY3" fmla="*/ 6581969 h 6626079"/>
              <a:gd name="connsiteX4" fmla="*/ 2503646 w 8560364"/>
              <a:gd name="connsiteY4" fmla="*/ 5152044 h 6626079"/>
              <a:gd name="connsiteX5" fmla="*/ 36904 w 8560364"/>
              <a:gd name="connsiteY5" fmla="*/ 3345547 h 6626079"/>
              <a:gd name="connsiteX0" fmla="*/ 36904 w 8560364"/>
              <a:gd name="connsiteY0" fmla="*/ 3053710 h 6334242"/>
              <a:gd name="connsiteX1" fmla="*/ 4522544 w 8560364"/>
              <a:gd name="connsiteY1" fmla="*/ 168 h 6334242"/>
              <a:gd name="connsiteX2" fmla="*/ 7982024 w 8560364"/>
              <a:gd name="connsiteY2" fmla="*/ 3145150 h 6334242"/>
              <a:gd name="connsiteX3" fmla="*/ 4522544 w 8560364"/>
              <a:gd name="connsiteY3" fmla="*/ 6290132 h 6334242"/>
              <a:gd name="connsiteX4" fmla="*/ 2503646 w 8560364"/>
              <a:gd name="connsiteY4" fmla="*/ 4860207 h 6334242"/>
              <a:gd name="connsiteX5" fmla="*/ 36904 w 8560364"/>
              <a:gd name="connsiteY5" fmla="*/ 3053710 h 6334242"/>
              <a:gd name="connsiteX0" fmla="*/ 14121 w 8537581"/>
              <a:gd name="connsiteY0" fmla="*/ 3053710 h 6334242"/>
              <a:gd name="connsiteX1" fmla="*/ 4499761 w 8537581"/>
              <a:gd name="connsiteY1" fmla="*/ 168 h 6334242"/>
              <a:gd name="connsiteX2" fmla="*/ 7959241 w 8537581"/>
              <a:gd name="connsiteY2" fmla="*/ 3145150 h 6334242"/>
              <a:gd name="connsiteX3" fmla="*/ 4499761 w 8537581"/>
              <a:gd name="connsiteY3" fmla="*/ 6290132 h 6334242"/>
              <a:gd name="connsiteX4" fmla="*/ 2480863 w 8537581"/>
              <a:gd name="connsiteY4" fmla="*/ 4860207 h 6334242"/>
              <a:gd name="connsiteX5" fmla="*/ 14121 w 8537581"/>
              <a:gd name="connsiteY5" fmla="*/ 3053710 h 6334242"/>
              <a:gd name="connsiteX0" fmla="*/ 14121 w 8648219"/>
              <a:gd name="connsiteY0" fmla="*/ 3053710 h 6290385"/>
              <a:gd name="connsiteX1" fmla="*/ 4499761 w 8648219"/>
              <a:gd name="connsiteY1" fmla="*/ 168 h 6290385"/>
              <a:gd name="connsiteX2" fmla="*/ 7959241 w 8648219"/>
              <a:gd name="connsiteY2" fmla="*/ 3145150 h 6290385"/>
              <a:gd name="connsiteX3" fmla="*/ 4499761 w 8648219"/>
              <a:gd name="connsiteY3" fmla="*/ 6290132 h 6290385"/>
              <a:gd name="connsiteX4" fmla="*/ 2480863 w 8648219"/>
              <a:gd name="connsiteY4" fmla="*/ 4860207 h 6290385"/>
              <a:gd name="connsiteX5" fmla="*/ 14121 w 8648219"/>
              <a:gd name="connsiteY5" fmla="*/ 3053710 h 6290385"/>
              <a:gd name="connsiteX0" fmla="*/ 8768 w 8034845"/>
              <a:gd name="connsiteY0" fmla="*/ 3057636 h 6369058"/>
              <a:gd name="connsiteX1" fmla="*/ 4494408 w 8034845"/>
              <a:gd name="connsiteY1" fmla="*/ 4094 h 6369058"/>
              <a:gd name="connsiteX2" fmla="*/ 7412092 w 8034845"/>
              <a:gd name="connsiteY2" fmla="*/ 2477434 h 6369058"/>
              <a:gd name="connsiteX3" fmla="*/ 4494408 w 8034845"/>
              <a:gd name="connsiteY3" fmla="*/ 6294058 h 6369058"/>
              <a:gd name="connsiteX4" fmla="*/ 2475510 w 8034845"/>
              <a:gd name="connsiteY4" fmla="*/ 4864133 h 6369058"/>
              <a:gd name="connsiteX5" fmla="*/ 8768 w 8034845"/>
              <a:gd name="connsiteY5" fmla="*/ 3057636 h 6369058"/>
              <a:gd name="connsiteX0" fmla="*/ 8768 w 7452181"/>
              <a:gd name="connsiteY0" fmla="*/ 3062274 h 6373696"/>
              <a:gd name="connsiteX1" fmla="*/ 4494408 w 7452181"/>
              <a:gd name="connsiteY1" fmla="*/ 8732 h 6373696"/>
              <a:gd name="connsiteX2" fmla="*/ 7412092 w 7452181"/>
              <a:gd name="connsiteY2" fmla="*/ 2482072 h 6373696"/>
              <a:gd name="connsiteX3" fmla="*/ 4494408 w 7452181"/>
              <a:gd name="connsiteY3" fmla="*/ 6298696 h 6373696"/>
              <a:gd name="connsiteX4" fmla="*/ 2475510 w 7452181"/>
              <a:gd name="connsiteY4" fmla="*/ 4868771 h 6373696"/>
              <a:gd name="connsiteX5" fmla="*/ 8768 w 7452181"/>
              <a:gd name="connsiteY5" fmla="*/ 3062274 h 6373696"/>
              <a:gd name="connsiteX0" fmla="*/ 8947 w 7890921"/>
              <a:gd name="connsiteY0" fmla="*/ 3060730 h 6369955"/>
              <a:gd name="connsiteX1" fmla="*/ 4494587 w 7890921"/>
              <a:gd name="connsiteY1" fmla="*/ 7188 h 6369955"/>
              <a:gd name="connsiteX2" fmla="*/ 7855556 w 7890921"/>
              <a:gd name="connsiteY2" fmla="*/ 2525302 h 6369955"/>
              <a:gd name="connsiteX3" fmla="*/ 4494587 w 7890921"/>
              <a:gd name="connsiteY3" fmla="*/ 6297152 h 6369955"/>
              <a:gd name="connsiteX4" fmla="*/ 2475689 w 7890921"/>
              <a:gd name="connsiteY4" fmla="*/ 4867227 h 6369955"/>
              <a:gd name="connsiteX5" fmla="*/ 8947 w 7890921"/>
              <a:gd name="connsiteY5" fmla="*/ 3060730 h 6369955"/>
              <a:gd name="connsiteX0" fmla="*/ 10368 w 7892342"/>
              <a:gd name="connsiteY0" fmla="*/ 3054757 h 6363982"/>
              <a:gd name="connsiteX1" fmla="*/ 4496008 w 7892342"/>
              <a:gd name="connsiteY1" fmla="*/ 1215 h 6363982"/>
              <a:gd name="connsiteX2" fmla="*/ 7856977 w 7892342"/>
              <a:gd name="connsiteY2" fmla="*/ 2519329 h 6363982"/>
              <a:gd name="connsiteX3" fmla="*/ 4496008 w 7892342"/>
              <a:gd name="connsiteY3" fmla="*/ 6291179 h 6363982"/>
              <a:gd name="connsiteX4" fmla="*/ 2477110 w 7892342"/>
              <a:gd name="connsiteY4" fmla="*/ 4861254 h 6363982"/>
              <a:gd name="connsiteX5" fmla="*/ 10368 w 7892342"/>
              <a:gd name="connsiteY5" fmla="*/ 3054757 h 6363982"/>
              <a:gd name="connsiteX0" fmla="*/ 10368 w 7892342"/>
              <a:gd name="connsiteY0" fmla="*/ 3056250 h 6365475"/>
              <a:gd name="connsiteX1" fmla="*/ 4496008 w 7892342"/>
              <a:gd name="connsiteY1" fmla="*/ 2708 h 6365475"/>
              <a:gd name="connsiteX2" fmla="*/ 7856977 w 7892342"/>
              <a:gd name="connsiteY2" fmla="*/ 2520822 h 6365475"/>
              <a:gd name="connsiteX3" fmla="*/ 4496008 w 7892342"/>
              <a:gd name="connsiteY3" fmla="*/ 6292672 h 6365475"/>
              <a:gd name="connsiteX4" fmla="*/ 2477110 w 7892342"/>
              <a:gd name="connsiteY4" fmla="*/ 4862747 h 6365475"/>
              <a:gd name="connsiteX5" fmla="*/ 10368 w 7892342"/>
              <a:gd name="connsiteY5" fmla="*/ 3056250 h 6365475"/>
              <a:gd name="connsiteX0" fmla="*/ 8949 w 7890925"/>
              <a:gd name="connsiteY0" fmla="*/ 2433570 h 6369665"/>
              <a:gd name="connsiteX1" fmla="*/ 4494591 w 7890925"/>
              <a:gd name="connsiteY1" fmla="*/ 6898 h 6369665"/>
              <a:gd name="connsiteX2" fmla="*/ 7855560 w 7890925"/>
              <a:gd name="connsiteY2" fmla="*/ 2525012 h 6369665"/>
              <a:gd name="connsiteX3" fmla="*/ 4494591 w 7890925"/>
              <a:gd name="connsiteY3" fmla="*/ 6296862 h 6369665"/>
              <a:gd name="connsiteX4" fmla="*/ 2475693 w 7890925"/>
              <a:gd name="connsiteY4" fmla="*/ 4866937 h 6369665"/>
              <a:gd name="connsiteX5" fmla="*/ 8949 w 7890925"/>
              <a:gd name="connsiteY5" fmla="*/ 2433570 h 6369665"/>
              <a:gd name="connsiteX0" fmla="*/ 8949 w 7890925"/>
              <a:gd name="connsiteY0" fmla="*/ 2427028 h 6363123"/>
              <a:gd name="connsiteX1" fmla="*/ 4494591 w 7890925"/>
              <a:gd name="connsiteY1" fmla="*/ 356 h 6363123"/>
              <a:gd name="connsiteX2" fmla="*/ 7855560 w 7890925"/>
              <a:gd name="connsiteY2" fmla="*/ 2518470 h 6363123"/>
              <a:gd name="connsiteX3" fmla="*/ 4494591 w 7890925"/>
              <a:gd name="connsiteY3" fmla="*/ 6290320 h 6363123"/>
              <a:gd name="connsiteX4" fmla="*/ 2475693 w 7890925"/>
              <a:gd name="connsiteY4" fmla="*/ 4860395 h 6363123"/>
              <a:gd name="connsiteX5" fmla="*/ 8949 w 7890925"/>
              <a:gd name="connsiteY5" fmla="*/ 2427028 h 6363123"/>
              <a:gd name="connsiteX0" fmla="*/ 39315 w 7921380"/>
              <a:gd name="connsiteY0" fmla="*/ 2426773 h 6329773"/>
              <a:gd name="connsiteX1" fmla="*/ 4524957 w 7921380"/>
              <a:gd name="connsiteY1" fmla="*/ 101 h 6329773"/>
              <a:gd name="connsiteX2" fmla="*/ 7885926 w 7921380"/>
              <a:gd name="connsiteY2" fmla="*/ 2518215 h 6329773"/>
              <a:gd name="connsiteX3" fmla="*/ 4524957 w 7921380"/>
              <a:gd name="connsiteY3" fmla="*/ 6290065 h 6329773"/>
              <a:gd name="connsiteX4" fmla="*/ 2456808 w 7921380"/>
              <a:gd name="connsiteY4" fmla="*/ 4412378 h 6329773"/>
              <a:gd name="connsiteX5" fmla="*/ 39315 w 7921380"/>
              <a:gd name="connsiteY5" fmla="*/ 2426773 h 6329773"/>
              <a:gd name="connsiteX0" fmla="*/ 39315 w 7941474"/>
              <a:gd name="connsiteY0" fmla="*/ 2426773 h 6312253"/>
              <a:gd name="connsiteX1" fmla="*/ 4524957 w 7941474"/>
              <a:gd name="connsiteY1" fmla="*/ 101 h 6312253"/>
              <a:gd name="connsiteX2" fmla="*/ 7885926 w 7941474"/>
              <a:gd name="connsiteY2" fmla="*/ 2518215 h 6312253"/>
              <a:gd name="connsiteX3" fmla="*/ 4524957 w 7941474"/>
              <a:gd name="connsiteY3" fmla="*/ 6290065 h 6312253"/>
              <a:gd name="connsiteX4" fmla="*/ 2456808 w 7941474"/>
              <a:gd name="connsiteY4" fmla="*/ 4412378 h 6312253"/>
              <a:gd name="connsiteX5" fmla="*/ 39315 w 7941474"/>
              <a:gd name="connsiteY5" fmla="*/ 2426773 h 6312253"/>
              <a:gd name="connsiteX0" fmla="*/ 12630 w 7914789"/>
              <a:gd name="connsiteY0" fmla="*/ 2426874 h 6312354"/>
              <a:gd name="connsiteX1" fmla="*/ 4498272 w 7914789"/>
              <a:gd name="connsiteY1" fmla="*/ 202 h 6312354"/>
              <a:gd name="connsiteX2" fmla="*/ 7859241 w 7914789"/>
              <a:gd name="connsiteY2" fmla="*/ 2518316 h 6312354"/>
              <a:gd name="connsiteX3" fmla="*/ 4498272 w 7914789"/>
              <a:gd name="connsiteY3" fmla="*/ 6290166 h 6312354"/>
              <a:gd name="connsiteX4" fmla="*/ 2430123 w 7914789"/>
              <a:gd name="connsiteY4" fmla="*/ 4412479 h 6312354"/>
              <a:gd name="connsiteX5" fmla="*/ 12630 w 7914789"/>
              <a:gd name="connsiteY5" fmla="*/ 2426874 h 6312354"/>
              <a:gd name="connsiteX0" fmla="*/ 12630 w 7914789"/>
              <a:gd name="connsiteY0" fmla="*/ 2031995 h 6320462"/>
              <a:gd name="connsiteX1" fmla="*/ 4498272 w 7914789"/>
              <a:gd name="connsiteY1" fmla="*/ 8310 h 6320462"/>
              <a:gd name="connsiteX2" fmla="*/ 7859241 w 7914789"/>
              <a:gd name="connsiteY2" fmla="*/ 2526424 h 6320462"/>
              <a:gd name="connsiteX3" fmla="*/ 4498272 w 7914789"/>
              <a:gd name="connsiteY3" fmla="*/ 6298274 h 6320462"/>
              <a:gd name="connsiteX4" fmla="*/ 2430123 w 7914789"/>
              <a:gd name="connsiteY4" fmla="*/ 4420587 h 6320462"/>
              <a:gd name="connsiteX5" fmla="*/ 12630 w 7914789"/>
              <a:gd name="connsiteY5" fmla="*/ 2031995 h 6320462"/>
              <a:gd name="connsiteX0" fmla="*/ 0 w 7902159"/>
              <a:gd name="connsiteY0" fmla="*/ 2028208 h 6294485"/>
              <a:gd name="connsiteX1" fmla="*/ 4485642 w 7902159"/>
              <a:gd name="connsiteY1" fmla="*/ 4523 h 6294485"/>
              <a:gd name="connsiteX2" fmla="*/ 7846611 w 7902159"/>
              <a:gd name="connsiteY2" fmla="*/ 2522637 h 6294485"/>
              <a:gd name="connsiteX3" fmla="*/ 4485642 w 7902159"/>
              <a:gd name="connsiteY3" fmla="*/ 6294487 h 6294485"/>
              <a:gd name="connsiteX4" fmla="*/ 0 w 7902159"/>
              <a:gd name="connsiteY4" fmla="*/ 2028208 h 6294485"/>
              <a:gd name="connsiteX0" fmla="*/ 0 w 7902159"/>
              <a:gd name="connsiteY0" fmla="*/ 2282796 h 6549077"/>
              <a:gd name="connsiteX1" fmla="*/ 4485642 w 7902159"/>
              <a:gd name="connsiteY1" fmla="*/ 259111 h 6549077"/>
              <a:gd name="connsiteX2" fmla="*/ 7846611 w 7902159"/>
              <a:gd name="connsiteY2" fmla="*/ 2777225 h 6549077"/>
              <a:gd name="connsiteX3" fmla="*/ 4485642 w 7902159"/>
              <a:gd name="connsiteY3" fmla="*/ 6549075 h 6549077"/>
              <a:gd name="connsiteX4" fmla="*/ 0 w 7902159"/>
              <a:gd name="connsiteY4" fmla="*/ 2282796 h 6549077"/>
              <a:gd name="connsiteX0" fmla="*/ 0 w 7887129"/>
              <a:gd name="connsiteY0" fmla="*/ 3014912 h 6311870"/>
              <a:gd name="connsiteX1" fmla="*/ 4485642 w 7887129"/>
              <a:gd name="connsiteY1" fmla="*/ 6148 h 6311870"/>
              <a:gd name="connsiteX2" fmla="*/ 7846611 w 7887129"/>
              <a:gd name="connsiteY2" fmla="*/ 2524262 h 6311870"/>
              <a:gd name="connsiteX3" fmla="*/ 4485642 w 7887129"/>
              <a:gd name="connsiteY3" fmla="*/ 6296112 h 6311870"/>
              <a:gd name="connsiteX4" fmla="*/ 0 w 7887129"/>
              <a:gd name="connsiteY4" fmla="*/ 3014912 h 6311870"/>
              <a:gd name="connsiteX0" fmla="*/ 0 w 7885767"/>
              <a:gd name="connsiteY0" fmla="*/ 3014912 h 6419348"/>
              <a:gd name="connsiteX1" fmla="*/ 4485642 w 7885767"/>
              <a:gd name="connsiteY1" fmla="*/ 6148 h 6419348"/>
              <a:gd name="connsiteX2" fmla="*/ 7846611 w 7885767"/>
              <a:gd name="connsiteY2" fmla="*/ 2524262 h 6419348"/>
              <a:gd name="connsiteX3" fmla="*/ 4485642 w 7885767"/>
              <a:gd name="connsiteY3" fmla="*/ 6296112 h 6419348"/>
              <a:gd name="connsiteX4" fmla="*/ 0 w 7885767"/>
              <a:gd name="connsiteY4" fmla="*/ 3014912 h 6419348"/>
              <a:gd name="connsiteX0" fmla="*/ 1728 w 7850635"/>
              <a:gd name="connsiteY0" fmla="*/ 3011856 h 6348311"/>
              <a:gd name="connsiteX1" fmla="*/ 4487370 w 7850635"/>
              <a:gd name="connsiteY1" fmla="*/ 3092 h 6348311"/>
              <a:gd name="connsiteX2" fmla="*/ 7848339 w 7850635"/>
              <a:gd name="connsiteY2" fmla="*/ 2521206 h 6348311"/>
              <a:gd name="connsiteX3" fmla="*/ 3994829 w 7850635"/>
              <a:gd name="connsiteY3" fmla="*/ 6248280 h 6348311"/>
              <a:gd name="connsiteX4" fmla="*/ 1728 w 7850635"/>
              <a:gd name="connsiteY4" fmla="*/ 3011856 h 6348311"/>
              <a:gd name="connsiteX0" fmla="*/ 32502 w 7881409"/>
              <a:gd name="connsiteY0" fmla="*/ 3011856 h 6348311"/>
              <a:gd name="connsiteX1" fmla="*/ 4518144 w 7881409"/>
              <a:gd name="connsiteY1" fmla="*/ 3092 h 6348311"/>
              <a:gd name="connsiteX2" fmla="*/ 7879113 w 7881409"/>
              <a:gd name="connsiteY2" fmla="*/ 2521206 h 6348311"/>
              <a:gd name="connsiteX3" fmla="*/ 4025603 w 7881409"/>
              <a:gd name="connsiteY3" fmla="*/ 6248280 h 6348311"/>
              <a:gd name="connsiteX4" fmla="*/ 32502 w 7881409"/>
              <a:gd name="connsiteY4" fmla="*/ 3011856 h 6348311"/>
              <a:gd name="connsiteX0" fmla="*/ 32502 w 7895805"/>
              <a:gd name="connsiteY0" fmla="*/ 3020270 h 6399236"/>
              <a:gd name="connsiteX1" fmla="*/ 4518144 w 7895805"/>
              <a:gd name="connsiteY1" fmla="*/ 11506 h 6399236"/>
              <a:gd name="connsiteX2" fmla="*/ 7879113 w 7895805"/>
              <a:gd name="connsiteY2" fmla="*/ 2529620 h 6399236"/>
              <a:gd name="connsiteX3" fmla="*/ 4025603 w 7895805"/>
              <a:gd name="connsiteY3" fmla="*/ 6256694 h 6399236"/>
              <a:gd name="connsiteX4" fmla="*/ 32502 w 7895805"/>
              <a:gd name="connsiteY4" fmla="*/ 3020270 h 6399236"/>
              <a:gd name="connsiteX0" fmla="*/ 32502 w 7892303"/>
              <a:gd name="connsiteY0" fmla="*/ 3020270 h 6413085"/>
              <a:gd name="connsiteX1" fmla="*/ 4518144 w 7892303"/>
              <a:gd name="connsiteY1" fmla="*/ 11506 h 6413085"/>
              <a:gd name="connsiteX2" fmla="*/ 7879113 w 7892303"/>
              <a:gd name="connsiteY2" fmla="*/ 2529620 h 6413085"/>
              <a:gd name="connsiteX3" fmla="*/ 4025603 w 7892303"/>
              <a:gd name="connsiteY3" fmla="*/ 6256694 h 6413085"/>
              <a:gd name="connsiteX4" fmla="*/ 32502 w 7892303"/>
              <a:gd name="connsiteY4" fmla="*/ 3020270 h 6413085"/>
              <a:gd name="connsiteX0" fmla="*/ 29242 w 7889043"/>
              <a:gd name="connsiteY0" fmla="*/ 3276576 h 6669391"/>
              <a:gd name="connsiteX1" fmla="*/ 4514884 w 7889043"/>
              <a:gd name="connsiteY1" fmla="*/ 267812 h 6669391"/>
              <a:gd name="connsiteX2" fmla="*/ 7875853 w 7889043"/>
              <a:gd name="connsiteY2" fmla="*/ 2785926 h 6669391"/>
              <a:gd name="connsiteX3" fmla="*/ 4022343 w 7889043"/>
              <a:gd name="connsiteY3" fmla="*/ 6513000 h 6669391"/>
              <a:gd name="connsiteX4" fmla="*/ 29242 w 7889043"/>
              <a:gd name="connsiteY4" fmla="*/ 3276576 h 6669391"/>
              <a:gd name="connsiteX0" fmla="*/ 24799 w 7884600"/>
              <a:gd name="connsiteY0" fmla="*/ 3425887 h 6818702"/>
              <a:gd name="connsiteX1" fmla="*/ 4510441 w 7884600"/>
              <a:gd name="connsiteY1" fmla="*/ 417123 h 6818702"/>
              <a:gd name="connsiteX2" fmla="*/ 7871410 w 7884600"/>
              <a:gd name="connsiteY2" fmla="*/ 2935237 h 6818702"/>
              <a:gd name="connsiteX3" fmla="*/ 4017900 w 7884600"/>
              <a:gd name="connsiteY3" fmla="*/ 6662311 h 6818702"/>
              <a:gd name="connsiteX4" fmla="*/ 24799 w 7884600"/>
              <a:gd name="connsiteY4" fmla="*/ 3425887 h 6818702"/>
              <a:gd name="connsiteX0" fmla="*/ 676 w 7847979"/>
              <a:gd name="connsiteY0" fmla="*/ 3548030 h 6873603"/>
              <a:gd name="connsiteX1" fmla="*/ 3648998 w 7847979"/>
              <a:gd name="connsiteY1" fmla="*/ 270603 h 6873603"/>
              <a:gd name="connsiteX2" fmla="*/ 7847287 w 7847979"/>
              <a:gd name="connsiteY2" fmla="*/ 3057380 h 6873603"/>
              <a:gd name="connsiteX3" fmla="*/ 3993777 w 7847979"/>
              <a:gd name="connsiteY3" fmla="*/ 6784454 h 6873603"/>
              <a:gd name="connsiteX4" fmla="*/ 676 w 7847979"/>
              <a:gd name="connsiteY4" fmla="*/ 3548030 h 6873603"/>
              <a:gd name="connsiteX0" fmla="*/ 676 w 7847979"/>
              <a:gd name="connsiteY0" fmla="*/ 3548030 h 6918268"/>
              <a:gd name="connsiteX1" fmla="*/ 3648998 w 7847979"/>
              <a:gd name="connsiteY1" fmla="*/ 270603 h 6918268"/>
              <a:gd name="connsiteX2" fmla="*/ 7847287 w 7847979"/>
              <a:gd name="connsiteY2" fmla="*/ 3057380 h 6918268"/>
              <a:gd name="connsiteX3" fmla="*/ 3993777 w 7847979"/>
              <a:gd name="connsiteY3" fmla="*/ 6784454 h 6918268"/>
              <a:gd name="connsiteX4" fmla="*/ 676 w 7847979"/>
              <a:gd name="connsiteY4" fmla="*/ 3548030 h 6918268"/>
              <a:gd name="connsiteX0" fmla="*/ 676 w 7852158"/>
              <a:gd name="connsiteY0" fmla="*/ 3684591 h 7054829"/>
              <a:gd name="connsiteX1" fmla="*/ 3648998 w 7852158"/>
              <a:gd name="connsiteY1" fmla="*/ 407164 h 7054829"/>
              <a:gd name="connsiteX2" fmla="*/ 7847287 w 7852158"/>
              <a:gd name="connsiteY2" fmla="*/ 3193941 h 7054829"/>
              <a:gd name="connsiteX3" fmla="*/ 3993777 w 7852158"/>
              <a:gd name="connsiteY3" fmla="*/ 6921015 h 7054829"/>
              <a:gd name="connsiteX4" fmla="*/ 676 w 7852158"/>
              <a:gd name="connsiteY4" fmla="*/ 3684591 h 7054829"/>
              <a:gd name="connsiteX0" fmla="*/ 1012 w 7854094"/>
              <a:gd name="connsiteY0" fmla="*/ 3277427 h 6513850"/>
              <a:gd name="connsiteX1" fmla="*/ 3649334 w 7854094"/>
              <a:gd name="connsiteY1" fmla="*/ 0 h 6513850"/>
              <a:gd name="connsiteX2" fmla="*/ 7847622 w 7854094"/>
              <a:gd name="connsiteY2" fmla="*/ 3279314 h 6513850"/>
              <a:gd name="connsiteX3" fmla="*/ 3994113 w 7854094"/>
              <a:gd name="connsiteY3" fmla="*/ 6513851 h 6513850"/>
              <a:gd name="connsiteX4" fmla="*/ 1012 w 7854094"/>
              <a:gd name="connsiteY4" fmla="*/ 3277427 h 6513850"/>
              <a:gd name="connsiteX0" fmla="*/ 1012 w 7852983"/>
              <a:gd name="connsiteY0" fmla="*/ 3277427 h 6814821"/>
              <a:gd name="connsiteX1" fmla="*/ 3649334 w 7852983"/>
              <a:gd name="connsiteY1" fmla="*/ 0 h 6814821"/>
              <a:gd name="connsiteX2" fmla="*/ 7847622 w 7852983"/>
              <a:gd name="connsiteY2" fmla="*/ 3279314 h 6814821"/>
              <a:gd name="connsiteX3" fmla="*/ 3994113 w 7852983"/>
              <a:gd name="connsiteY3" fmla="*/ 6513851 h 6814821"/>
              <a:gd name="connsiteX4" fmla="*/ 1012 w 7852983"/>
              <a:gd name="connsiteY4" fmla="*/ 3277427 h 6814821"/>
              <a:gd name="connsiteX0" fmla="*/ 1012 w 7852983"/>
              <a:gd name="connsiteY0" fmla="*/ 3277427 h 6814821"/>
              <a:gd name="connsiteX1" fmla="*/ 3649334 w 7852983"/>
              <a:gd name="connsiteY1" fmla="*/ 0 h 6814821"/>
              <a:gd name="connsiteX2" fmla="*/ 7847622 w 7852983"/>
              <a:gd name="connsiteY2" fmla="*/ 3279314 h 6814821"/>
              <a:gd name="connsiteX3" fmla="*/ 3994113 w 7852983"/>
              <a:gd name="connsiteY3" fmla="*/ 6513851 h 6814821"/>
              <a:gd name="connsiteX4" fmla="*/ 1012 w 7852983"/>
              <a:gd name="connsiteY4" fmla="*/ 3277427 h 6814821"/>
              <a:gd name="connsiteX0" fmla="*/ 1013 w 7854094"/>
              <a:gd name="connsiteY0" fmla="*/ 3684122 h 6550535"/>
              <a:gd name="connsiteX1" fmla="*/ 3649334 w 7854094"/>
              <a:gd name="connsiteY1" fmla="*/ 3706 h 6550535"/>
              <a:gd name="connsiteX2" fmla="*/ 7847622 w 7854094"/>
              <a:gd name="connsiteY2" fmla="*/ 3283020 h 6550535"/>
              <a:gd name="connsiteX3" fmla="*/ 3994113 w 7854094"/>
              <a:gd name="connsiteY3" fmla="*/ 6517557 h 6550535"/>
              <a:gd name="connsiteX4" fmla="*/ 1013 w 7854094"/>
              <a:gd name="connsiteY4" fmla="*/ 3684122 h 6550535"/>
              <a:gd name="connsiteX0" fmla="*/ 1013 w 7852430"/>
              <a:gd name="connsiteY0" fmla="*/ 3684122 h 6792891"/>
              <a:gd name="connsiteX1" fmla="*/ 3649334 w 7852430"/>
              <a:gd name="connsiteY1" fmla="*/ 3706 h 6792891"/>
              <a:gd name="connsiteX2" fmla="*/ 7847622 w 7852430"/>
              <a:gd name="connsiteY2" fmla="*/ 3283020 h 6792891"/>
              <a:gd name="connsiteX3" fmla="*/ 3994113 w 7852430"/>
              <a:gd name="connsiteY3" fmla="*/ 6517557 h 6792891"/>
              <a:gd name="connsiteX4" fmla="*/ 1013 w 7852430"/>
              <a:gd name="connsiteY4" fmla="*/ 3684122 h 679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2430" h="6792891">
                <a:moveTo>
                  <a:pt x="1013" y="3684122"/>
                </a:moveTo>
                <a:cubicBezTo>
                  <a:pt x="-56452" y="538767"/>
                  <a:pt x="2341566" y="70556"/>
                  <a:pt x="3649334" y="3706"/>
                </a:cubicBezTo>
                <a:cubicBezTo>
                  <a:pt x="4957102" y="-63144"/>
                  <a:pt x="7691649" y="764534"/>
                  <a:pt x="7847622" y="3283020"/>
                </a:cubicBezTo>
                <a:cubicBezTo>
                  <a:pt x="8003595" y="5801506"/>
                  <a:pt x="4316802" y="7480566"/>
                  <a:pt x="3994113" y="6517557"/>
                </a:cubicBezTo>
                <a:cubicBezTo>
                  <a:pt x="3671424" y="5554548"/>
                  <a:pt x="58478" y="6829477"/>
                  <a:pt x="1013" y="3684122"/>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2" name="Straight Connector 31">
            <a:extLst>
              <a:ext uri="{FF2B5EF4-FFF2-40B4-BE49-F238E27FC236}">
                <a16:creationId xmlns:a16="http://schemas.microsoft.com/office/drawing/2014/main" id="{CB2ED819-77A9-8043-91A5-AF2B73296086}"/>
              </a:ext>
            </a:extLst>
          </p:cNvPr>
          <p:cNvCxnSpPr>
            <a:cxnSpLocks/>
          </p:cNvCxnSpPr>
          <p:nvPr userDrawn="1"/>
        </p:nvCxnSpPr>
        <p:spPr>
          <a:xfrm>
            <a:off x="22784" y="5119022"/>
            <a:ext cx="261089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BAD35A3-6B12-AA48-A806-553BF8DB3F51}"/>
              </a:ext>
            </a:extLst>
          </p:cNvPr>
          <p:cNvSpPr txBox="1"/>
          <p:nvPr userDrawn="1"/>
        </p:nvSpPr>
        <p:spPr>
          <a:xfrm>
            <a:off x="11392" y="4818005"/>
            <a:ext cx="4464684" cy="261610"/>
          </a:xfrm>
          <a:prstGeom prst="rect">
            <a:avLst/>
          </a:prstGeom>
          <a:noFill/>
        </p:spPr>
        <p:txBody>
          <a:bodyPr wrap="none" rtlCol="0" anchor="ctr">
            <a:spAutoFit/>
          </a:bodyPr>
          <a:lstStyle/>
          <a:p>
            <a:r>
              <a:rPr lang="en-US" sz="1100" b="1" dirty="0">
                <a:solidFill>
                  <a:schemeClr val="bg1"/>
                </a:solidFill>
                <a:latin typeface="Myriad Pro" panose="020B0503030403020204" pitchFamily="34" charset="0"/>
                <a:ea typeface="Verdana" panose="020B0604030504040204" pitchFamily="34" charset="0"/>
                <a:cs typeface="Verdana" panose="020B0604030504040204" pitchFamily="34" charset="0"/>
              </a:rPr>
              <a:t>Extra Food Illustrations to Use </a:t>
            </a:r>
            <a:r>
              <a:rPr lang="en-US" sz="1100" b="0" dirty="0">
                <a:solidFill>
                  <a:schemeClr val="bg1"/>
                </a:solidFill>
                <a:latin typeface="Myriad Pro" panose="020B0503030403020204" pitchFamily="34" charset="0"/>
                <a:ea typeface="Verdana" panose="020B0604030504040204" pitchFamily="34" charset="0"/>
                <a:cs typeface="Verdana" panose="020B0604030504040204" pitchFamily="34" charset="0"/>
              </a:rPr>
              <a:t>(on divider slides, title or end slides, etc.)</a:t>
            </a:r>
          </a:p>
        </p:txBody>
      </p:sp>
      <p:sp>
        <p:nvSpPr>
          <p:cNvPr id="26" name="Oval 6">
            <a:extLst>
              <a:ext uri="{FF2B5EF4-FFF2-40B4-BE49-F238E27FC236}">
                <a16:creationId xmlns:a16="http://schemas.microsoft.com/office/drawing/2014/main" id="{6BB67636-D04C-E443-AB94-1E56B0DEC5B0}"/>
              </a:ext>
            </a:extLst>
          </p:cNvPr>
          <p:cNvSpPr/>
          <p:nvPr userDrawn="1"/>
        </p:nvSpPr>
        <p:spPr>
          <a:xfrm>
            <a:off x="9895240" y="840282"/>
            <a:ext cx="1868317" cy="177811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748 w 8554017"/>
              <a:gd name="connsiteY0" fmla="*/ 3713786 h 7792503"/>
              <a:gd name="connsiteX1" fmla="*/ 4337099 w 8554017"/>
              <a:gd name="connsiteY1" fmla="*/ 80 h 7792503"/>
              <a:gd name="connsiteX2" fmla="*/ 8502274 w 8554017"/>
              <a:gd name="connsiteY2" fmla="*/ 4209732 h 7792503"/>
              <a:gd name="connsiteX3" fmla="*/ 4282508 w 8554017"/>
              <a:gd name="connsiteY3" fmla="*/ 7638733 h 7792503"/>
              <a:gd name="connsiteX4" fmla="*/ 748 w 8554017"/>
              <a:gd name="connsiteY4" fmla="*/ 3713786 h 7792503"/>
              <a:gd name="connsiteX0" fmla="*/ 748 w 8557378"/>
              <a:gd name="connsiteY0" fmla="*/ 3912181 h 7990898"/>
              <a:gd name="connsiteX1" fmla="*/ 4337099 w 8557378"/>
              <a:gd name="connsiteY1" fmla="*/ 198475 h 7990898"/>
              <a:gd name="connsiteX2" fmla="*/ 8502274 w 8557378"/>
              <a:gd name="connsiteY2" fmla="*/ 4408127 h 7990898"/>
              <a:gd name="connsiteX3" fmla="*/ 4282508 w 8557378"/>
              <a:gd name="connsiteY3" fmla="*/ 7837128 h 7990898"/>
              <a:gd name="connsiteX4" fmla="*/ 748 w 8557378"/>
              <a:gd name="connsiteY4" fmla="*/ 3912181 h 7990898"/>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07406"/>
              <a:gd name="connsiteY0" fmla="*/ 3866904 h 7945621"/>
              <a:gd name="connsiteX1" fmla="*/ 4342230 w 8507406"/>
              <a:gd name="connsiteY1" fmla="*/ 153198 h 7945621"/>
              <a:gd name="connsiteX2" fmla="*/ 8507405 w 8507406"/>
              <a:gd name="connsiteY2" fmla="*/ 4362850 h 7945621"/>
              <a:gd name="connsiteX3" fmla="*/ 4287639 w 8507406"/>
              <a:gd name="connsiteY3" fmla="*/ 7791851 h 7945621"/>
              <a:gd name="connsiteX4" fmla="*/ 5879 w 8507406"/>
              <a:gd name="connsiteY4" fmla="*/ 3866904 h 7945621"/>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95018"/>
              <a:gd name="connsiteY0" fmla="*/ 3878166 h 7916068"/>
              <a:gd name="connsiteX1" fmla="*/ 4342230 w 8595018"/>
              <a:gd name="connsiteY1" fmla="*/ 164460 h 7916068"/>
              <a:gd name="connsiteX2" fmla="*/ 8507405 w 8595018"/>
              <a:gd name="connsiteY2" fmla="*/ 4374112 h 7916068"/>
              <a:gd name="connsiteX3" fmla="*/ 4287639 w 8595018"/>
              <a:gd name="connsiteY3" fmla="*/ 7803113 h 7916068"/>
              <a:gd name="connsiteX4" fmla="*/ 5879 w 8595018"/>
              <a:gd name="connsiteY4" fmla="*/ 3878166 h 7916068"/>
              <a:gd name="connsiteX0" fmla="*/ 5879 w 8595018"/>
              <a:gd name="connsiteY0" fmla="*/ 3724040 h 7761942"/>
              <a:gd name="connsiteX1" fmla="*/ 4342230 w 8595018"/>
              <a:gd name="connsiteY1" fmla="*/ 10334 h 7761942"/>
              <a:gd name="connsiteX2" fmla="*/ 8507405 w 8595018"/>
              <a:gd name="connsiteY2" fmla="*/ 4219986 h 7761942"/>
              <a:gd name="connsiteX3" fmla="*/ 4287639 w 8595018"/>
              <a:gd name="connsiteY3" fmla="*/ 7648987 h 7761942"/>
              <a:gd name="connsiteX4" fmla="*/ 5879 w 8595018"/>
              <a:gd name="connsiteY4" fmla="*/ 3724040 h 7761942"/>
              <a:gd name="connsiteX0" fmla="*/ 5409 w 8324942"/>
              <a:gd name="connsiteY0" fmla="*/ 4800570 h 7660046"/>
              <a:gd name="connsiteX1" fmla="*/ 4082653 w 8324942"/>
              <a:gd name="connsiteY1" fmla="*/ 3789 h 7660046"/>
              <a:gd name="connsiteX2" fmla="*/ 8247828 w 8324942"/>
              <a:gd name="connsiteY2" fmla="*/ 4213441 h 7660046"/>
              <a:gd name="connsiteX3" fmla="*/ 4028062 w 8324942"/>
              <a:gd name="connsiteY3" fmla="*/ 7642442 h 7660046"/>
              <a:gd name="connsiteX4" fmla="*/ 5409 w 8324942"/>
              <a:gd name="connsiteY4" fmla="*/ 4800570 h 7660046"/>
              <a:gd name="connsiteX0" fmla="*/ 17211 w 8336744"/>
              <a:gd name="connsiteY0" fmla="*/ 4800570 h 7694890"/>
              <a:gd name="connsiteX1" fmla="*/ 4094455 w 8336744"/>
              <a:gd name="connsiteY1" fmla="*/ 3789 h 7694890"/>
              <a:gd name="connsiteX2" fmla="*/ 8259630 w 8336744"/>
              <a:gd name="connsiteY2" fmla="*/ 4213441 h 7694890"/>
              <a:gd name="connsiteX3" fmla="*/ 4039864 w 8336744"/>
              <a:gd name="connsiteY3" fmla="*/ 7642442 h 7694890"/>
              <a:gd name="connsiteX4" fmla="*/ 17211 w 8336744"/>
              <a:gd name="connsiteY4" fmla="*/ 4800570 h 7694890"/>
              <a:gd name="connsiteX0" fmla="*/ 17117 w 8234714"/>
              <a:gd name="connsiteY0" fmla="*/ 4817502 h 7754594"/>
              <a:gd name="connsiteX1" fmla="*/ 4094361 w 8234714"/>
              <a:gd name="connsiteY1" fmla="*/ 20721 h 7754594"/>
              <a:gd name="connsiteX2" fmla="*/ 8155889 w 8234714"/>
              <a:gd name="connsiteY2" fmla="*/ 3603331 h 7754594"/>
              <a:gd name="connsiteX3" fmla="*/ 4039770 w 8234714"/>
              <a:gd name="connsiteY3" fmla="*/ 7659374 h 7754594"/>
              <a:gd name="connsiteX4" fmla="*/ 17117 w 8234714"/>
              <a:gd name="connsiteY4" fmla="*/ 4817502 h 7754594"/>
              <a:gd name="connsiteX0" fmla="*/ 17117 w 8157926"/>
              <a:gd name="connsiteY0" fmla="*/ 4826982 h 7764074"/>
              <a:gd name="connsiteX1" fmla="*/ 4094361 w 8157926"/>
              <a:gd name="connsiteY1" fmla="*/ 30201 h 7764074"/>
              <a:gd name="connsiteX2" fmla="*/ 8155889 w 8157926"/>
              <a:gd name="connsiteY2" fmla="*/ 3612811 h 7764074"/>
              <a:gd name="connsiteX3" fmla="*/ 4039770 w 8157926"/>
              <a:gd name="connsiteY3" fmla="*/ 7668854 h 7764074"/>
              <a:gd name="connsiteX4" fmla="*/ 17117 w 8157926"/>
              <a:gd name="connsiteY4" fmla="*/ 4826982 h 7764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926" h="7764074">
                <a:moveTo>
                  <a:pt x="17117" y="4826982"/>
                </a:moveTo>
                <a:cubicBezTo>
                  <a:pt x="-252767" y="1601784"/>
                  <a:pt x="2737899" y="232563"/>
                  <a:pt x="4094361" y="30201"/>
                </a:cubicBezTo>
                <a:cubicBezTo>
                  <a:pt x="5450823" y="-172161"/>
                  <a:pt x="8243982" y="600876"/>
                  <a:pt x="8155889" y="3612811"/>
                </a:cubicBezTo>
                <a:cubicBezTo>
                  <a:pt x="8067796" y="6624746"/>
                  <a:pt x="5396232" y="7466492"/>
                  <a:pt x="4039770" y="7668854"/>
                </a:cubicBezTo>
                <a:cubicBezTo>
                  <a:pt x="2683308" y="7871216"/>
                  <a:pt x="287001" y="8052180"/>
                  <a:pt x="17117" y="4826982"/>
                </a:cubicBezTo>
                <a:close/>
              </a:path>
            </a:pathLst>
          </a:custGeom>
          <a:solidFill>
            <a:schemeClr val="bg2"/>
          </a:solidFill>
          <a:ln>
            <a:noFill/>
          </a:ln>
          <a:effectLst>
            <a:outerShdw blurRad="127000" algn="ctr" rotWithShape="0">
              <a:schemeClr val="tx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6">
            <a:extLst>
              <a:ext uri="{FF2B5EF4-FFF2-40B4-BE49-F238E27FC236}">
                <a16:creationId xmlns:a16="http://schemas.microsoft.com/office/drawing/2014/main" id="{1F624FE6-F0D0-1041-B53D-74C3F97E2063}"/>
              </a:ext>
            </a:extLst>
          </p:cNvPr>
          <p:cNvSpPr/>
          <p:nvPr userDrawn="1"/>
        </p:nvSpPr>
        <p:spPr>
          <a:xfrm>
            <a:off x="2558538" y="2856235"/>
            <a:ext cx="1745426" cy="1600029"/>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 name="connsiteX0" fmla="*/ 748 w 8554017"/>
              <a:gd name="connsiteY0" fmla="*/ 3713786 h 7792503"/>
              <a:gd name="connsiteX1" fmla="*/ 4337099 w 8554017"/>
              <a:gd name="connsiteY1" fmla="*/ 80 h 7792503"/>
              <a:gd name="connsiteX2" fmla="*/ 8502274 w 8554017"/>
              <a:gd name="connsiteY2" fmla="*/ 4209732 h 7792503"/>
              <a:gd name="connsiteX3" fmla="*/ 4282508 w 8554017"/>
              <a:gd name="connsiteY3" fmla="*/ 7638733 h 7792503"/>
              <a:gd name="connsiteX4" fmla="*/ 748 w 8554017"/>
              <a:gd name="connsiteY4" fmla="*/ 3713786 h 7792503"/>
              <a:gd name="connsiteX0" fmla="*/ 748 w 8557378"/>
              <a:gd name="connsiteY0" fmla="*/ 3912181 h 7990898"/>
              <a:gd name="connsiteX1" fmla="*/ 4337099 w 8557378"/>
              <a:gd name="connsiteY1" fmla="*/ 198475 h 7990898"/>
              <a:gd name="connsiteX2" fmla="*/ 8502274 w 8557378"/>
              <a:gd name="connsiteY2" fmla="*/ 4408127 h 7990898"/>
              <a:gd name="connsiteX3" fmla="*/ 4282508 w 8557378"/>
              <a:gd name="connsiteY3" fmla="*/ 7837128 h 7990898"/>
              <a:gd name="connsiteX4" fmla="*/ 748 w 8557378"/>
              <a:gd name="connsiteY4" fmla="*/ 3912181 h 7990898"/>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07406"/>
              <a:gd name="connsiteY0" fmla="*/ 3866904 h 7945621"/>
              <a:gd name="connsiteX1" fmla="*/ 4342230 w 8507406"/>
              <a:gd name="connsiteY1" fmla="*/ 153198 h 7945621"/>
              <a:gd name="connsiteX2" fmla="*/ 8507405 w 8507406"/>
              <a:gd name="connsiteY2" fmla="*/ 4362850 h 7945621"/>
              <a:gd name="connsiteX3" fmla="*/ 4287639 w 8507406"/>
              <a:gd name="connsiteY3" fmla="*/ 7791851 h 7945621"/>
              <a:gd name="connsiteX4" fmla="*/ 5879 w 8507406"/>
              <a:gd name="connsiteY4" fmla="*/ 3866904 h 7945621"/>
              <a:gd name="connsiteX0" fmla="*/ 5879 w 8562509"/>
              <a:gd name="connsiteY0" fmla="*/ 3912181 h 7990898"/>
              <a:gd name="connsiteX1" fmla="*/ 4342230 w 8562509"/>
              <a:gd name="connsiteY1" fmla="*/ 198475 h 7990898"/>
              <a:gd name="connsiteX2" fmla="*/ 8507405 w 8562509"/>
              <a:gd name="connsiteY2" fmla="*/ 4408127 h 7990898"/>
              <a:gd name="connsiteX3" fmla="*/ 4287639 w 8562509"/>
              <a:gd name="connsiteY3" fmla="*/ 7837128 h 7990898"/>
              <a:gd name="connsiteX4" fmla="*/ 5879 w 8562509"/>
              <a:gd name="connsiteY4" fmla="*/ 3912181 h 7990898"/>
              <a:gd name="connsiteX0" fmla="*/ 5879 w 8595018"/>
              <a:gd name="connsiteY0" fmla="*/ 3878166 h 7916068"/>
              <a:gd name="connsiteX1" fmla="*/ 4342230 w 8595018"/>
              <a:gd name="connsiteY1" fmla="*/ 164460 h 7916068"/>
              <a:gd name="connsiteX2" fmla="*/ 8507405 w 8595018"/>
              <a:gd name="connsiteY2" fmla="*/ 4374112 h 7916068"/>
              <a:gd name="connsiteX3" fmla="*/ 4287639 w 8595018"/>
              <a:gd name="connsiteY3" fmla="*/ 7803113 h 7916068"/>
              <a:gd name="connsiteX4" fmla="*/ 5879 w 8595018"/>
              <a:gd name="connsiteY4" fmla="*/ 3878166 h 7916068"/>
              <a:gd name="connsiteX0" fmla="*/ 5879 w 8595018"/>
              <a:gd name="connsiteY0" fmla="*/ 3724040 h 7761942"/>
              <a:gd name="connsiteX1" fmla="*/ 4342230 w 8595018"/>
              <a:gd name="connsiteY1" fmla="*/ 10334 h 7761942"/>
              <a:gd name="connsiteX2" fmla="*/ 8507405 w 8595018"/>
              <a:gd name="connsiteY2" fmla="*/ 4219986 h 7761942"/>
              <a:gd name="connsiteX3" fmla="*/ 4287639 w 8595018"/>
              <a:gd name="connsiteY3" fmla="*/ 7648987 h 7761942"/>
              <a:gd name="connsiteX4" fmla="*/ 5879 w 8595018"/>
              <a:gd name="connsiteY4" fmla="*/ 3724040 h 7761942"/>
              <a:gd name="connsiteX0" fmla="*/ 17195 w 8585295"/>
              <a:gd name="connsiteY0" fmla="*/ 3724038 h 7802628"/>
              <a:gd name="connsiteX1" fmla="*/ 4353546 w 8585295"/>
              <a:gd name="connsiteY1" fmla="*/ 10332 h 7802628"/>
              <a:gd name="connsiteX2" fmla="*/ 8518721 w 8585295"/>
              <a:gd name="connsiteY2" fmla="*/ 4219984 h 7802628"/>
              <a:gd name="connsiteX3" fmla="*/ 3182975 w 8585295"/>
              <a:gd name="connsiteY3" fmla="*/ 7691909 h 7802628"/>
              <a:gd name="connsiteX4" fmla="*/ 17195 w 8585295"/>
              <a:gd name="connsiteY4" fmla="*/ 3724038 h 7802628"/>
              <a:gd name="connsiteX0" fmla="*/ 13476 w 8448314"/>
              <a:gd name="connsiteY0" fmla="*/ 3713723 h 7681623"/>
              <a:gd name="connsiteX1" fmla="*/ 4349827 w 8448314"/>
              <a:gd name="connsiteY1" fmla="*/ 17 h 7681623"/>
              <a:gd name="connsiteX2" fmla="*/ 8386236 w 8448314"/>
              <a:gd name="connsiteY2" fmla="*/ 3758985 h 7681623"/>
              <a:gd name="connsiteX3" fmla="*/ 3179256 w 8448314"/>
              <a:gd name="connsiteY3" fmla="*/ 7681594 h 7681623"/>
              <a:gd name="connsiteX4" fmla="*/ 13476 w 8448314"/>
              <a:gd name="connsiteY4" fmla="*/ 3713723 h 7681623"/>
              <a:gd name="connsiteX0" fmla="*/ 13476 w 8403375"/>
              <a:gd name="connsiteY0" fmla="*/ 3713723 h 7681671"/>
              <a:gd name="connsiteX1" fmla="*/ 4349827 w 8403375"/>
              <a:gd name="connsiteY1" fmla="*/ 17 h 7681671"/>
              <a:gd name="connsiteX2" fmla="*/ 8386236 w 8403375"/>
              <a:gd name="connsiteY2" fmla="*/ 3758985 h 7681671"/>
              <a:gd name="connsiteX3" fmla="*/ 3179256 w 8403375"/>
              <a:gd name="connsiteY3" fmla="*/ 7681594 h 7681671"/>
              <a:gd name="connsiteX4" fmla="*/ 13476 w 8403375"/>
              <a:gd name="connsiteY4" fmla="*/ 3713723 h 7681671"/>
              <a:gd name="connsiteX0" fmla="*/ 13476 w 8403375"/>
              <a:gd name="connsiteY0" fmla="*/ 3740768 h 7708717"/>
              <a:gd name="connsiteX1" fmla="*/ 4349827 w 8403375"/>
              <a:gd name="connsiteY1" fmla="*/ 27062 h 7708717"/>
              <a:gd name="connsiteX2" fmla="*/ 8386236 w 8403375"/>
              <a:gd name="connsiteY2" fmla="*/ 3786030 h 7708717"/>
              <a:gd name="connsiteX3" fmla="*/ 3179256 w 8403375"/>
              <a:gd name="connsiteY3" fmla="*/ 7708639 h 7708717"/>
              <a:gd name="connsiteX4" fmla="*/ 13476 w 8403375"/>
              <a:gd name="connsiteY4" fmla="*/ 3740768 h 7708717"/>
              <a:gd name="connsiteX0" fmla="*/ 3404 w 8393303"/>
              <a:gd name="connsiteY0" fmla="*/ 3744367 h 7712316"/>
              <a:gd name="connsiteX1" fmla="*/ 4339755 w 8393303"/>
              <a:gd name="connsiteY1" fmla="*/ 30661 h 7712316"/>
              <a:gd name="connsiteX2" fmla="*/ 8376164 w 8393303"/>
              <a:gd name="connsiteY2" fmla="*/ 3789629 h 7712316"/>
              <a:gd name="connsiteX3" fmla="*/ 3169184 w 8393303"/>
              <a:gd name="connsiteY3" fmla="*/ 7712238 h 7712316"/>
              <a:gd name="connsiteX4" fmla="*/ 3404 w 8393303"/>
              <a:gd name="connsiteY4" fmla="*/ 3744367 h 7712316"/>
              <a:gd name="connsiteX0" fmla="*/ 3404 w 8393728"/>
              <a:gd name="connsiteY0" fmla="*/ 3744367 h 7724613"/>
              <a:gd name="connsiteX1" fmla="*/ 4339755 w 8393728"/>
              <a:gd name="connsiteY1" fmla="*/ 30661 h 7724613"/>
              <a:gd name="connsiteX2" fmla="*/ 8376164 w 8393728"/>
              <a:gd name="connsiteY2" fmla="*/ 3789629 h 7724613"/>
              <a:gd name="connsiteX3" fmla="*/ 3169184 w 8393728"/>
              <a:gd name="connsiteY3" fmla="*/ 7712238 h 7724613"/>
              <a:gd name="connsiteX4" fmla="*/ 3404 w 8393728"/>
              <a:gd name="connsiteY4" fmla="*/ 3744367 h 7724613"/>
              <a:gd name="connsiteX0" fmla="*/ 3109 w 8393433"/>
              <a:gd name="connsiteY0" fmla="*/ 3714003 h 7694248"/>
              <a:gd name="connsiteX1" fmla="*/ 4339460 w 8393433"/>
              <a:gd name="connsiteY1" fmla="*/ 297 h 7694248"/>
              <a:gd name="connsiteX2" fmla="*/ 8375869 w 8393433"/>
              <a:gd name="connsiteY2" fmla="*/ 3759265 h 7694248"/>
              <a:gd name="connsiteX3" fmla="*/ 3168889 w 8393433"/>
              <a:gd name="connsiteY3" fmla="*/ 7681874 h 7694248"/>
              <a:gd name="connsiteX4" fmla="*/ 3109 w 8393433"/>
              <a:gd name="connsiteY4" fmla="*/ 3714003 h 769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93433" h="7694248">
                <a:moveTo>
                  <a:pt x="3109" y="3714003"/>
                </a:moveTo>
                <a:cubicBezTo>
                  <a:pt x="-102251" y="2068901"/>
                  <a:pt x="2493316" y="-28710"/>
                  <a:pt x="4339460" y="297"/>
                </a:cubicBezTo>
                <a:cubicBezTo>
                  <a:pt x="6185604" y="29304"/>
                  <a:pt x="8060379" y="358996"/>
                  <a:pt x="8375869" y="3759265"/>
                </a:cubicBezTo>
                <a:cubicBezTo>
                  <a:pt x="8691359" y="7159534"/>
                  <a:pt x="4671655" y="7796726"/>
                  <a:pt x="3168889" y="7681874"/>
                </a:cubicBezTo>
                <a:cubicBezTo>
                  <a:pt x="1666123" y="7567022"/>
                  <a:pt x="108469" y="5359105"/>
                  <a:pt x="3109" y="371400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Shape">
            <a:extLst>
              <a:ext uri="{FF2B5EF4-FFF2-40B4-BE49-F238E27FC236}">
                <a16:creationId xmlns:a16="http://schemas.microsoft.com/office/drawing/2014/main" id="{A1303C49-1F7B-6248-9B46-D7080E4F4AD6}"/>
              </a:ext>
            </a:extLst>
          </p:cNvPr>
          <p:cNvSpPr>
            <a:spLocks/>
          </p:cNvSpPr>
          <p:nvPr userDrawn="1"/>
        </p:nvSpPr>
        <p:spPr bwMode="auto">
          <a:xfrm>
            <a:off x="2763775" y="809386"/>
            <a:ext cx="1974281" cy="1839908"/>
          </a:xfrm>
          <a:custGeom>
            <a:avLst/>
            <a:gdLst>
              <a:gd name="T0" fmla="*/ 6146445 w 21600"/>
              <a:gd name="T1" fmla="*/ 5727383 h 21560"/>
              <a:gd name="T2" fmla="*/ 6146445 w 21600"/>
              <a:gd name="T3" fmla="*/ 5727383 h 21560"/>
              <a:gd name="T4" fmla="*/ 6146445 w 21600"/>
              <a:gd name="T5" fmla="*/ 5727383 h 21560"/>
              <a:gd name="T6" fmla="*/ 6146445 w 21600"/>
              <a:gd name="T7" fmla="*/ 5727383 h 2156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60" extrusionOk="0">
                <a:moveTo>
                  <a:pt x="10614" y="2"/>
                </a:moveTo>
                <a:cubicBezTo>
                  <a:pt x="8214" y="42"/>
                  <a:pt x="5807" y="840"/>
                  <a:pt x="3797" y="2490"/>
                </a:cubicBezTo>
                <a:cubicBezTo>
                  <a:pt x="2726" y="3370"/>
                  <a:pt x="1830" y="4470"/>
                  <a:pt x="1160" y="5725"/>
                </a:cubicBezTo>
                <a:cubicBezTo>
                  <a:pt x="387" y="7027"/>
                  <a:pt x="0" y="8510"/>
                  <a:pt x="0" y="9992"/>
                </a:cubicBezTo>
                <a:cubicBezTo>
                  <a:pt x="0" y="11475"/>
                  <a:pt x="387" y="12957"/>
                  <a:pt x="1160" y="14259"/>
                </a:cubicBezTo>
                <a:cubicBezTo>
                  <a:pt x="1948" y="15512"/>
                  <a:pt x="3019" y="16659"/>
                  <a:pt x="3797" y="17493"/>
                </a:cubicBezTo>
                <a:cubicBezTo>
                  <a:pt x="4575" y="18326"/>
                  <a:pt x="5646" y="19473"/>
                  <a:pt x="6816" y="20317"/>
                </a:cubicBezTo>
                <a:cubicBezTo>
                  <a:pt x="8031" y="21146"/>
                  <a:pt x="9415" y="21560"/>
                  <a:pt x="10799" y="21560"/>
                </a:cubicBezTo>
                <a:cubicBezTo>
                  <a:pt x="12183" y="21560"/>
                  <a:pt x="13567" y="21146"/>
                  <a:pt x="14783" y="20317"/>
                </a:cubicBezTo>
                <a:cubicBezTo>
                  <a:pt x="15952" y="19473"/>
                  <a:pt x="17025" y="18326"/>
                  <a:pt x="17803" y="17493"/>
                </a:cubicBezTo>
                <a:cubicBezTo>
                  <a:pt x="18581" y="16659"/>
                  <a:pt x="19652" y="15512"/>
                  <a:pt x="20440" y="14259"/>
                </a:cubicBezTo>
                <a:cubicBezTo>
                  <a:pt x="21213" y="12957"/>
                  <a:pt x="21600" y="11475"/>
                  <a:pt x="21600" y="9992"/>
                </a:cubicBezTo>
                <a:cubicBezTo>
                  <a:pt x="21600" y="8510"/>
                  <a:pt x="21213" y="7027"/>
                  <a:pt x="20440" y="5725"/>
                </a:cubicBezTo>
                <a:cubicBezTo>
                  <a:pt x="19770" y="4470"/>
                  <a:pt x="18874" y="3370"/>
                  <a:pt x="17803" y="2490"/>
                </a:cubicBezTo>
                <a:cubicBezTo>
                  <a:pt x="15690" y="754"/>
                  <a:pt x="13139" y="-40"/>
                  <a:pt x="10614" y="2"/>
                </a:cubicBezTo>
                <a:close/>
              </a:path>
            </a:pathLst>
          </a:custGeom>
          <a:solidFill>
            <a:schemeClr val="tx1"/>
          </a:solidFill>
          <a:ln>
            <a:noFill/>
          </a:ln>
          <a:effectLst/>
        </p:spPr>
        <p:txBody>
          <a:bodyPr lIns="50800" tIns="50800" rIns="50800" bIns="50800" anchor="ctr"/>
          <a:lstStyle/>
          <a:p>
            <a:endParaRPr lang="en-US" dirty="0">
              <a:solidFill>
                <a:schemeClr val="bg2"/>
              </a:solidFill>
            </a:endParaRPr>
          </a:p>
        </p:txBody>
      </p:sp>
      <p:sp>
        <p:nvSpPr>
          <p:cNvPr id="38" name="Oval 6">
            <a:extLst>
              <a:ext uri="{FF2B5EF4-FFF2-40B4-BE49-F238E27FC236}">
                <a16:creationId xmlns:a16="http://schemas.microsoft.com/office/drawing/2014/main" id="{4993F1A4-A575-EF4C-B2A1-24DA63F09730}"/>
              </a:ext>
            </a:extLst>
          </p:cNvPr>
          <p:cNvSpPr/>
          <p:nvPr userDrawn="1"/>
        </p:nvSpPr>
        <p:spPr>
          <a:xfrm>
            <a:off x="7452683" y="894970"/>
            <a:ext cx="2072492" cy="1668741"/>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ED93E0C-4612-E444-9CF6-16AD0C1EF7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7465" y="5391688"/>
            <a:ext cx="986559" cy="1233471"/>
          </a:xfrm>
          <a:prstGeom prst="rect">
            <a:avLst/>
          </a:prstGeom>
        </p:spPr>
      </p:pic>
      <p:pic>
        <p:nvPicPr>
          <p:cNvPr id="9" name="Picture 8">
            <a:extLst>
              <a:ext uri="{FF2B5EF4-FFF2-40B4-BE49-F238E27FC236}">
                <a16:creationId xmlns:a16="http://schemas.microsoft.com/office/drawing/2014/main" id="{D6B22CE0-0CAE-CC45-A952-727D18FD9D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1407" y="5330014"/>
            <a:ext cx="1266365" cy="1356818"/>
          </a:xfrm>
          <a:prstGeom prst="rect">
            <a:avLst/>
          </a:prstGeom>
        </p:spPr>
      </p:pic>
      <p:pic>
        <p:nvPicPr>
          <p:cNvPr id="13" name="Picture 12">
            <a:extLst>
              <a:ext uri="{FF2B5EF4-FFF2-40B4-BE49-F238E27FC236}">
                <a16:creationId xmlns:a16="http://schemas.microsoft.com/office/drawing/2014/main" id="{14AD3320-E4C2-2647-870D-30CF530235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759236" y="5391688"/>
            <a:ext cx="1151241" cy="1233471"/>
          </a:xfrm>
          <a:prstGeom prst="rect">
            <a:avLst/>
          </a:prstGeom>
        </p:spPr>
      </p:pic>
      <p:pic>
        <p:nvPicPr>
          <p:cNvPr id="16" name="Picture 15">
            <a:extLst>
              <a:ext uri="{FF2B5EF4-FFF2-40B4-BE49-F238E27FC236}">
                <a16:creationId xmlns:a16="http://schemas.microsoft.com/office/drawing/2014/main" id="{02474C9E-056C-2A40-A07C-287B452639B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05832" y="5391688"/>
            <a:ext cx="1151241" cy="1233471"/>
          </a:xfrm>
          <a:prstGeom prst="rect">
            <a:avLst/>
          </a:prstGeom>
        </p:spPr>
      </p:pic>
      <p:pic>
        <p:nvPicPr>
          <p:cNvPr id="20" name="Picture 19">
            <a:extLst>
              <a:ext uri="{FF2B5EF4-FFF2-40B4-BE49-F238E27FC236}">
                <a16:creationId xmlns:a16="http://schemas.microsoft.com/office/drawing/2014/main" id="{F57768AE-5FB9-754E-90D6-9E12689613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01415" y="5391688"/>
            <a:ext cx="1315705" cy="1233471"/>
          </a:xfrm>
          <a:prstGeom prst="rect">
            <a:avLst/>
          </a:prstGeom>
        </p:spPr>
      </p:pic>
      <p:pic>
        <p:nvPicPr>
          <p:cNvPr id="24" name="Picture 23">
            <a:extLst>
              <a:ext uri="{FF2B5EF4-FFF2-40B4-BE49-F238E27FC236}">
                <a16:creationId xmlns:a16="http://schemas.microsoft.com/office/drawing/2014/main" id="{3592D9D1-0256-D449-8C4A-17719744BF3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14115" y="5391688"/>
            <a:ext cx="1069008" cy="1233471"/>
          </a:xfrm>
          <a:prstGeom prst="rect">
            <a:avLst/>
          </a:prstGeom>
        </p:spPr>
      </p:pic>
      <p:pic>
        <p:nvPicPr>
          <p:cNvPr id="36" name="Picture 35">
            <a:extLst>
              <a:ext uri="{FF2B5EF4-FFF2-40B4-BE49-F238E27FC236}">
                <a16:creationId xmlns:a16="http://schemas.microsoft.com/office/drawing/2014/main" id="{66A8B251-2E53-D945-824E-370DD73E45D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829689" y="5391688"/>
            <a:ext cx="740084" cy="1233471"/>
          </a:xfrm>
          <a:prstGeom prst="rect">
            <a:avLst/>
          </a:prstGeom>
        </p:spPr>
      </p:pic>
      <p:pic>
        <p:nvPicPr>
          <p:cNvPr id="40" name="Picture 39">
            <a:extLst>
              <a:ext uri="{FF2B5EF4-FFF2-40B4-BE49-F238E27FC236}">
                <a16:creationId xmlns:a16="http://schemas.microsoft.com/office/drawing/2014/main" id="{F36AF72A-A44F-BB4B-AAC7-DBD3D9347A8A}"/>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728804" y="5391688"/>
            <a:ext cx="1315705" cy="1233471"/>
          </a:xfrm>
          <a:prstGeom prst="rect">
            <a:avLst/>
          </a:prstGeom>
        </p:spPr>
      </p:pic>
      <p:pic>
        <p:nvPicPr>
          <p:cNvPr id="42" name="Picture 41">
            <a:extLst>
              <a:ext uri="{FF2B5EF4-FFF2-40B4-BE49-F238E27FC236}">
                <a16:creationId xmlns:a16="http://schemas.microsoft.com/office/drawing/2014/main" id="{5D36FF29-9E2C-9D40-A9A8-6E73DD593E3E}"/>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7205180" y="5391688"/>
            <a:ext cx="1480167" cy="1233471"/>
          </a:xfrm>
          <a:prstGeom prst="rect">
            <a:avLst/>
          </a:prstGeom>
        </p:spPr>
      </p:pic>
    </p:spTree>
    <p:extLst>
      <p:ext uri="{BB962C8B-B14F-4D97-AF65-F5344CB8AC3E}">
        <p14:creationId xmlns:p14="http://schemas.microsoft.com/office/powerpoint/2010/main" val="29894652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ysco Purpose Line Post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29F205-CB0B-5245-B54B-E44479A7E4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228158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66813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Image + Headline">
    <p:bg>
      <p:bgPr>
        <a:solidFill>
          <a:schemeClr val="tx2"/>
        </a:solidFill>
        <a:effectLst/>
      </p:bgPr>
    </p:bg>
    <p:spTree>
      <p:nvGrpSpPr>
        <p:cNvPr id="1" name=""/>
        <p:cNvGrpSpPr/>
        <p:nvPr/>
      </p:nvGrpSpPr>
      <p:grpSpPr>
        <a:xfrm>
          <a:off x="0" y="0"/>
          <a:ext cx="0" cy="0"/>
          <a:chOff x="0" y="0"/>
          <a:chExt cx="0" cy="0"/>
        </a:xfrm>
      </p:grpSpPr>
      <p:sp>
        <p:nvSpPr>
          <p:cNvPr id="4" name="Picture Placeholder 12">
            <a:extLst>
              <a:ext uri="{FF2B5EF4-FFF2-40B4-BE49-F238E27FC236}">
                <a16:creationId xmlns:a16="http://schemas.microsoft.com/office/drawing/2014/main" id="{16F13970-574E-254F-97A8-CE705AB10F44}"/>
              </a:ext>
            </a:extLst>
          </p:cNvPr>
          <p:cNvSpPr>
            <a:spLocks noGrp="1"/>
          </p:cNvSpPr>
          <p:nvPr>
            <p:ph type="pic" sz="quarter" idx="12"/>
          </p:nvPr>
        </p:nvSpPr>
        <p:spPr>
          <a:xfrm>
            <a:off x="2106562" y="172552"/>
            <a:ext cx="7978876" cy="6512895"/>
          </a:xfrm>
          <a:custGeom>
            <a:avLst/>
            <a:gdLst>
              <a:gd name="connsiteX0" fmla="*/ 0 w 5326063"/>
              <a:gd name="connsiteY0" fmla="*/ 2663825 h 5327650"/>
              <a:gd name="connsiteX1" fmla="*/ 2663032 w 5326063"/>
              <a:gd name="connsiteY1" fmla="*/ 0 h 5327650"/>
              <a:gd name="connsiteX2" fmla="*/ 5326063 w 5326063"/>
              <a:gd name="connsiteY2" fmla="*/ 2663825 h 5327650"/>
              <a:gd name="connsiteX3" fmla="*/ 2663032 w 5326063"/>
              <a:gd name="connsiteY3" fmla="*/ 5327650 h 5327650"/>
              <a:gd name="connsiteX4" fmla="*/ 0 w 5326063"/>
              <a:gd name="connsiteY4" fmla="*/ 2663825 h 5327650"/>
              <a:gd name="connsiteX0" fmla="*/ 0 w 5326063"/>
              <a:gd name="connsiteY0" fmla="*/ 2673412 h 5337237"/>
              <a:gd name="connsiteX1" fmla="*/ 2663032 w 5326063"/>
              <a:gd name="connsiteY1" fmla="*/ 9587 h 5337237"/>
              <a:gd name="connsiteX2" fmla="*/ 5326063 w 5326063"/>
              <a:gd name="connsiteY2" fmla="*/ 2673412 h 5337237"/>
              <a:gd name="connsiteX3" fmla="*/ 2663032 w 5326063"/>
              <a:gd name="connsiteY3" fmla="*/ 5337237 h 5337237"/>
              <a:gd name="connsiteX4" fmla="*/ 0 w 5326063"/>
              <a:gd name="connsiteY4" fmla="*/ 2673412 h 5337237"/>
              <a:gd name="connsiteX0" fmla="*/ 0 w 5327307"/>
              <a:gd name="connsiteY0" fmla="*/ 2673412 h 5337237"/>
              <a:gd name="connsiteX1" fmla="*/ 2663032 w 5327307"/>
              <a:gd name="connsiteY1" fmla="*/ 9587 h 5337237"/>
              <a:gd name="connsiteX2" fmla="*/ 5326063 w 5327307"/>
              <a:gd name="connsiteY2" fmla="*/ 2673412 h 5337237"/>
              <a:gd name="connsiteX3" fmla="*/ 2663032 w 5327307"/>
              <a:gd name="connsiteY3" fmla="*/ 5337237 h 5337237"/>
              <a:gd name="connsiteX4" fmla="*/ 0 w 5327307"/>
              <a:gd name="connsiteY4" fmla="*/ 2673412 h 5337237"/>
              <a:gd name="connsiteX0" fmla="*/ 0 w 5327533"/>
              <a:gd name="connsiteY0" fmla="*/ 2673412 h 5367905"/>
              <a:gd name="connsiteX1" fmla="*/ 2663032 w 5327533"/>
              <a:gd name="connsiteY1" fmla="*/ 9587 h 5367905"/>
              <a:gd name="connsiteX2" fmla="*/ 5326063 w 5327533"/>
              <a:gd name="connsiteY2" fmla="*/ 2673412 h 5367905"/>
              <a:gd name="connsiteX3" fmla="*/ 2663032 w 5327533"/>
              <a:gd name="connsiteY3" fmla="*/ 5337237 h 5367905"/>
              <a:gd name="connsiteX4" fmla="*/ 0 w 5327533"/>
              <a:gd name="connsiteY4" fmla="*/ 2673412 h 5367905"/>
              <a:gd name="connsiteX0" fmla="*/ 122147 w 5449680"/>
              <a:gd name="connsiteY0" fmla="*/ 2677415 h 5382558"/>
              <a:gd name="connsiteX1" fmla="*/ 2785179 w 5449680"/>
              <a:gd name="connsiteY1" fmla="*/ 13590 h 5382558"/>
              <a:gd name="connsiteX2" fmla="*/ 5448210 w 5449680"/>
              <a:gd name="connsiteY2" fmla="*/ 2677415 h 5382558"/>
              <a:gd name="connsiteX3" fmla="*/ 2785179 w 5449680"/>
              <a:gd name="connsiteY3" fmla="*/ 5341240 h 5382558"/>
              <a:gd name="connsiteX4" fmla="*/ 122147 w 5449680"/>
              <a:gd name="connsiteY4" fmla="*/ 2677415 h 538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680" h="5382558">
                <a:moveTo>
                  <a:pt x="122147" y="2677415"/>
                </a:moveTo>
                <a:cubicBezTo>
                  <a:pt x="777596" y="1165359"/>
                  <a:pt x="968587" y="-148638"/>
                  <a:pt x="2785179" y="13590"/>
                </a:cubicBezTo>
                <a:cubicBezTo>
                  <a:pt x="4601771" y="175818"/>
                  <a:pt x="5392459" y="323530"/>
                  <a:pt x="5448210" y="2677415"/>
                </a:cubicBezTo>
                <a:cubicBezTo>
                  <a:pt x="5503961" y="5031300"/>
                  <a:pt x="3963142" y="5033869"/>
                  <a:pt x="2785179" y="5341240"/>
                </a:cubicBezTo>
                <a:cubicBezTo>
                  <a:pt x="1607216" y="5648611"/>
                  <a:pt x="-533302" y="4189471"/>
                  <a:pt x="122147" y="2677415"/>
                </a:cubicBezTo>
                <a:close/>
              </a:path>
            </a:pathLst>
          </a:custGeom>
          <a:solidFill>
            <a:schemeClr val="tx2"/>
          </a:solidFill>
          <a:effectLst>
            <a:outerShdw blurRad="190500" algn="ctr" rotWithShape="0">
              <a:schemeClr val="tx2">
                <a:lumMod val="50000"/>
                <a:alpha val="50000"/>
              </a:schemeClr>
            </a:outerShdw>
          </a:effectLst>
        </p:spPr>
        <p:txBody>
          <a:bodyPr/>
          <a:lstStyle/>
          <a:p>
            <a:r>
              <a:rPr lang="en-US" dirty="0"/>
              <a:t>Click icon to add picture</a:t>
            </a:r>
          </a:p>
        </p:txBody>
      </p:sp>
      <p:sp>
        <p:nvSpPr>
          <p:cNvPr id="7" name="Slide Number Placeholder 8">
            <a:extLst>
              <a:ext uri="{FF2B5EF4-FFF2-40B4-BE49-F238E27FC236}">
                <a16:creationId xmlns:a16="http://schemas.microsoft.com/office/drawing/2014/main" id="{24F03AD8-487C-4B4D-B6D5-162683BD0BDA}"/>
              </a:ext>
            </a:extLst>
          </p:cNvPr>
          <p:cNvSpPr txBox="1">
            <a:spLocks/>
          </p:cNvSpPr>
          <p:nvPr userDrawn="1"/>
        </p:nvSpPr>
        <p:spPr>
          <a:xfrm>
            <a:off x="10248900" y="6356350"/>
            <a:ext cx="1680631" cy="365125"/>
          </a:xfrm>
          <a:prstGeom prst="rect">
            <a:avLst/>
          </a:prstGeom>
        </p:spPr>
        <p:txBody>
          <a:bodyPr vert="horz" lIns="91440" tIns="45720" rIns="91440" bIns="45720" rtlCol="0" anchor="ctr"/>
          <a:lstStyle>
            <a:defPPr>
              <a:defRPr lang="en-US"/>
            </a:defPPr>
            <a:lvl1pPr marL="0" algn="r" defTabSz="914400" rtl="0" eaLnBrk="1" latinLnBrk="0" hangingPunct="1">
              <a:defRPr sz="1100" b="1" kern="1200">
                <a:solidFill>
                  <a:schemeClr val="tx2">
                    <a:lumMod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8F4E8">
                    <a:lumMod val="75000"/>
                  </a:srgbClr>
                </a:solidFill>
                <a:effectLst/>
                <a:uLnTx/>
                <a:uFillTx/>
                <a:latin typeface="Myriad Pro" panose="020B0503030403020204" pitchFamily="34" charset="0"/>
                <a:ea typeface="+mn-ea"/>
                <a:cs typeface="+mn-cs"/>
              </a:rPr>
              <a:t>© Sysco 2021  |  </a:t>
            </a:r>
            <a:fld id="{9F9D41EE-D4DD-3A44-AD6F-DC82B5908678}" type="slidenum">
              <a:rPr kumimoji="0" lang="en-US" sz="1100" b="1" i="0" u="none" strike="noStrike" kern="1200" cap="none" spc="0" normalizeH="0" baseline="0" noProof="0" smtClean="0">
                <a:ln>
                  <a:noFill/>
                </a:ln>
                <a:solidFill>
                  <a:srgbClr val="F8F4E8">
                    <a:lumMod val="75000"/>
                  </a:srgbClr>
                </a:solidFill>
                <a:effectLst/>
                <a:uLnTx/>
                <a:uFillTx/>
                <a:latin typeface="Myriad Pro" panose="020B05030304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100" b="1" i="0" u="none" strike="noStrike" kern="1200" cap="none" spc="0" normalizeH="0" baseline="0" noProof="0" dirty="0">
              <a:ln>
                <a:noFill/>
              </a:ln>
              <a:solidFill>
                <a:srgbClr val="F8F4E8">
                  <a:lumMod val="75000"/>
                </a:srgbClr>
              </a:solidFill>
              <a:effectLst/>
              <a:uLnTx/>
              <a:uFillTx/>
              <a:latin typeface="Myriad Pro" panose="020B0503030403020204" pitchFamily="34" charset="0"/>
              <a:ea typeface="+mn-ea"/>
              <a:cs typeface="+mn-cs"/>
            </a:endParaRPr>
          </a:p>
        </p:txBody>
      </p:sp>
    </p:spTree>
    <p:extLst>
      <p:ext uri="{BB962C8B-B14F-4D97-AF65-F5344CB8AC3E}">
        <p14:creationId xmlns:p14="http://schemas.microsoft.com/office/powerpoint/2010/main" val="2590269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2"/>
            </p:custDataLst>
          </p:nvPr>
        </p:nvGraphicFramePr>
        <p:xfrm>
          <a:off x="1" y="1"/>
          <a:ext cx="211667" cy="158751"/>
        </p:xfrm>
        <a:graphic>
          <a:graphicData uri="http://schemas.openxmlformats.org/presentationml/2006/ole">
            <mc:AlternateContent xmlns:mc="http://schemas.openxmlformats.org/markup-compatibility/2006">
              <mc:Choice xmlns:v="urn:schemas-microsoft-com:vml" Requires="v">
                <p:oleObj spid="_x0000_s3074" name="Diapositive think-cell" r:id="rId4" imgW="360" imgH="360" progId="TCLayout.ActiveDocument.1">
                  <p:embed/>
                </p:oleObj>
              </mc:Choice>
              <mc:Fallback>
                <p:oleObj name="Diapositive think-cell" r:id="rId4" imgW="360" imgH="360" progId="TCLayout.ActiveDocument.1">
                  <p:embed/>
                  <p:pic>
                    <p:nvPicPr>
                      <p:cNvPr id="4" name="Object 6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6"/>
          <p:cNvSpPr>
            <a:spLocks noChangeShapeType="1"/>
          </p:cNvSpPr>
          <p:nvPr/>
        </p:nvSpPr>
        <p:spPr bwMode="gray">
          <a:xfrm flipV="1">
            <a:off x="2893486" y="2281241"/>
            <a:ext cx="8591551" cy="1587"/>
          </a:xfrm>
          <a:prstGeom prst="line">
            <a:avLst/>
          </a:prstGeom>
          <a:noFill/>
          <a:ln w="12700">
            <a:solidFill>
              <a:srgbClr val="56AA1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buClrTx/>
              <a:buFontTx/>
              <a:buNone/>
            </a:pPr>
            <a:endParaRPr lang="en-US" sz="1200" kern="1200" dirty="0">
              <a:latin typeface="Arial" panose="020B0604020202020204" pitchFamily="34" charset="0"/>
              <a:ea typeface="+mn-ea"/>
              <a:cs typeface="+mn-cs"/>
            </a:endParaRPr>
          </a:p>
        </p:txBody>
      </p:sp>
      <p:sp>
        <p:nvSpPr>
          <p:cNvPr id="13314" name="Rectangle 1026"/>
          <p:cNvSpPr>
            <a:spLocks noGrp="1" noChangeArrowheads="1"/>
          </p:cNvSpPr>
          <p:nvPr>
            <p:ph type="ctrTitle"/>
          </p:nvPr>
        </p:nvSpPr>
        <p:spPr bwMode="gray">
          <a:xfrm>
            <a:off x="2893484" y="1728220"/>
            <a:ext cx="8595360" cy="461665"/>
          </a:xfrm>
          <a:prstGeom prst="rect">
            <a:avLst/>
          </a:prstGeom>
        </p:spPr>
        <p:txBody>
          <a:bodyPr>
            <a:noAutofit/>
          </a:bodyPr>
          <a:lstStyle>
            <a:lvl1pPr>
              <a:defRPr sz="2251"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gray">
          <a:xfrm>
            <a:off x="2893484" y="2386585"/>
            <a:ext cx="8595360" cy="219820"/>
          </a:xfrm>
        </p:spPr>
        <p:txBody>
          <a:bodyPr>
            <a:noAutofit/>
          </a:bodyPr>
          <a:lstStyle>
            <a:lvl1pPr>
              <a:defRPr sz="1051" baseline="0">
                <a:latin typeface="+mn-lt"/>
                <a:ea typeface="+mj-ea"/>
              </a:defRPr>
            </a:lvl1pPr>
          </a:lstStyle>
          <a:p>
            <a:pPr lvl="0"/>
            <a:r>
              <a:rPr lang="en-US" noProof="0"/>
              <a:t>Click to edit Master subtitle style</a:t>
            </a:r>
            <a:endParaRPr lang="en-US" noProof="0" dirty="0"/>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314359" y="5303521"/>
            <a:ext cx="2170676" cy="1381569"/>
          </a:xfrm>
          <a:prstGeom prst="rect">
            <a:avLst/>
          </a:prstGeom>
        </p:spPr>
      </p:pic>
    </p:spTree>
    <p:extLst>
      <p:ext uri="{BB962C8B-B14F-4D97-AF65-F5344CB8AC3E}">
        <p14:creationId xmlns:p14="http://schemas.microsoft.com/office/powerpoint/2010/main" val="28027752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1" y="1"/>
          <a:ext cx="211667" cy="158751"/>
        </p:xfrm>
        <a:graphic>
          <a:graphicData uri="http://schemas.openxmlformats.org/presentationml/2006/ole">
            <mc:AlternateContent xmlns:mc="http://schemas.openxmlformats.org/markup-compatibility/2006">
              <mc:Choice xmlns:v="urn:schemas-microsoft-com:vml" Requires="v">
                <p:oleObj spid="_x0000_s4098" name="Diapositive think-cell" r:id="rId19" imgW="360" imgH="360" progId="TCLayout.ActiveDocument.1">
                  <p:embed/>
                </p:oleObj>
              </mc:Choice>
              <mc:Fallback>
                <p:oleObj name="Diapositive think-cell" r:id="rId19" imgW="360" imgH="360" progId="TCLayout.ActiveDocument.1">
                  <p:embed/>
                  <p:pic>
                    <p:nvPicPr>
                      <p:cNvPr id="3" name="Object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1. On-page tracker" hidden="1"/>
          <p:cNvSpPr>
            <a:spLocks noChangeArrowheads="1"/>
          </p:cNvSpPr>
          <p:nvPr/>
        </p:nvSpPr>
        <p:spPr bwMode="gray">
          <a:xfrm>
            <a:off x="3915837" y="65090"/>
            <a:ext cx="633187" cy="16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051" kern="1200" dirty="0">
                <a:solidFill>
                  <a:srgbClr val="808080"/>
                </a:solidFill>
                <a:latin typeface="Verdana" panose="020B0604030504040204" pitchFamily="34" charset="0"/>
                <a:ea typeface="+mn-ea"/>
                <a:cs typeface="+mn-cs"/>
              </a:rPr>
              <a:t>TRACKER</a:t>
            </a:r>
          </a:p>
        </p:txBody>
      </p:sp>
      <p:sp>
        <p:nvSpPr>
          <p:cNvPr id="5" name="3. Unit of measure" hidden="1"/>
          <p:cNvSpPr txBox="1">
            <a:spLocks noChangeArrowheads="1"/>
          </p:cNvSpPr>
          <p:nvPr/>
        </p:nvSpPr>
        <p:spPr bwMode="gray">
          <a:xfrm>
            <a:off x="182034" y="825504"/>
            <a:ext cx="11802533" cy="220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51" kern="1200" dirty="0">
                <a:solidFill>
                  <a:srgbClr val="808080"/>
                </a:solidFill>
                <a:latin typeface="Verdana"/>
                <a:ea typeface="+mn-ea"/>
                <a:cs typeface="+mn-cs"/>
              </a:rPr>
              <a:t>Unit of measure</a:t>
            </a:r>
          </a:p>
        </p:txBody>
      </p:sp>
      <p:grpSp>
        <p:nvGrpSpPr>
          <p:cNvPr id="6" name="Slide Elements" hidden="1"/>
          <p:cNvGrpSpPr>
            <a:grpSpLocks/>
          </p:cNvGrpSpPr>
          <p:nvPr/>
        </p:nvGrpSpPr>
        <p:grpSpPr bwMode="auto">
          <a:xfrm>
            <a:off x="162987" y="6449311"/>
            <a:ext cx="11857567" cy="319814"/>
            <a:chOff x="75" y="3982"/>
            <a:chExt cx="5661" cy="197"/>
          </a:xfrm>
        </p:grpSpPr>
        <p:sp>
          <p:nvSpPr>
            <p:cNvPr id="8" name="4. Footnote"/>
            <p:cNvSpPr txBox="1">
              <a:spLocks noChangeArrowheads="1"/>
            </p:cNvSpPr>
            <p:nvPr/>
          </p:nvSpPr>
          <p:spPr bwMode="gray">
            <a:xfrm>
              <a:off x="85" y="3982"/>
              <a:ext cx="5651"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2867" indent="-92867" fontAlgn="base">
                <a:spcBef>
                  <a:spcPct val="0"/>
                </a:spcBef>
                <a:spcAft>
                  <a:spcPct val="0"/>
                </a:spcAft>
                <a:buClrTx/>
                <a:buFontTx/>
                <a:buNone/>
                <a:defRPr/>
              </a:pPr>
              <a:r>
                <a:rPr lang="en-US" sz="751" kern="1200" dirty="0">
                  <a:solidFill>
                    <a:srgbClr val="000000"/>
                  </a:solidFill>
                  <a:latin typeface="Verdana"/>
                  <a:ea typeface="+mn-ea"/>
                  <a:cs typeface="+mn-cs"/>
                </a:rPr>
                <a:t>1 Footnote</a:t>
              </a:r>
            </a:p>
          </p:txBody>
        </p:sp>
        <p:sp>
          <p:nvSpPr>
            <p:cNvPr id="9" name="5. Source"/>
            <p:cNvSpPr>
              <a:spLocks noChangeArrowheads="1"/>
            </p:cNvSpPr>
            <p:nvPr/>
          </p:nvSpPr>
          <p:spPr bwMode="gray">
            <a:xfrm>
              <a:off x="75" y="4108"/>
              <a:ext cx="5223"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65150" indent="-565150" defTabSz="912813">
                <a:tabLst>
                  <a:tab pos="573088" algn="l"/>
                </a:tabLst>
                <a:defRPr sz="1600">
                  <a:solidFill>
                    <a:schemeClr val="tx1"/>
                  </a:solidFill>
                  <a:latin typeface="Arial" panose="020B0604020202020204" pitchFamily="34" charset="0"/>
                </a:defRPr>
              </a:lvl1pPr>
              <a:lvl2pPr marL="742950" indent="-285750" defTabSz="912813">
                <a:tabLst>
                  <a:tab pos="573088" algn="l"/>
                </a:tabLst>
                <a:defRPr sz="1600">
                  <a:solidFill>
                    <a:schemeClr val="tx1"/>
                  </a:solidFill>
                  <a:latin typeface="Arial" panose="020B0604020202020204" pitchFamily="34" charset="0"/>
                </a:defRPr>
              </a:lvl2pPr>
              <a:lvl3pPr marL="1143000" indent="-228600" defTabSz="912813">
                <a:tabLst>
                  <a:tab pos="573088" algn="l"/>
                </a:tabLst>
                <a:defRPr sz="1600">
                  <a:solidFill>
                    <a:schemeClr val="tx1"/>
                  </a:solidFill>
                  <a:latin typeface="Arial" panose="020B0604020202020204" pitchFamily="34" charset="0"/>
                </a:defRPr>
              </a:lvl3pPr>
              <a:lvl4pPr marL="1600200" indent="-228600" defTabSz="912813">
                <a:tabLst>
                  <a:tab pos="573088" algn="l"/>
                </a:tabLst>
                <a:defRPr sz="1600">
                  <a:solidFill>
                    <a:schemeClr val="tx1"/>
                  </a:solidFill>
                  <a:latin typeface="Arial" panose="020B0604020202020204" pitchFamily="34" charset="0"/>
                </a:defRPr>
              </a:lvl4pPr>
              <a:lvl5pPr marL="2057400" indent="-228600" defTabSz="912813">
                <a:tabLst>
                  <a:tab pos="573088" algn="l"/>
                </a:tabLst>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751" kern="1200" dirty="0">
                  <a:solidFill>
                    <a:srgbClr val="000000"/>
                  </a:solidFill>
                  <a:latin typeface="Verdana" panose="020B0604030504040204" pitchFamily="34" charset="0"/>
                  <a:ea typeface="+mn-ea"/>
                  <a:cs typeface="+mn-cs"/>
                </a:rPr>
                <a:t>Source:	Source</a:t>
              </a:r>
            </a:p>
          </p:txBody>
        </p:sp>
      </p:grpSp>
      <p:grpSp>
        <p:nvGrpSpPr>
          <p:cNvPr id="10" name="ACET" hidden="1"/>
          <p:cNvGrpSpPr>
            <a:grpSpLocks/>
          </p:cNvGrpSpPr>
          <p:nvPr/>
        </p:nvGrpSpPr>
        <p:grpSpPr bwMode="auto">
          <a:xfrm>
            <a:off x="3003554" y="2439627"/>
            <a:ext cx="5801783" cy="387713"/>
            <a:chOff x="915" y="791"/>
            <a:chExt cx="2686" cy="239"/>
          </a:xfrm>
        </p:grpSpPr>
        <p:cxnSp>
          <p:nvCxnSpPr>
            <p:cNvPr id="11" name="AutoShape 249"/>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gray">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Verdana" panose="020B0604030504040204" pitchFamily="34" charset="0"/>
                  <a:ea typeface="+mn-ea"/>
                  <a:cs typeface="+mn-cs"/>
                </a:rPr>
                <a:t>Title</a:t>
              </a:r>
            </a:p>
            <a:p>
              <a:pPr fontAlgn="base">
                <a:spcBef>
                  <a:spcPct val="0"/>
                </a:spcBef>
                <a:spcAft>
                  <a:spcPct val="0"/>
                </a:spcAft>
                <a:buClrTx/>
                <a:buFontTx/>
                <a:buNone/>
              </a:pPr>
              <a:r>
                <a:rPr lang="en-US" altLang="en-US" sz="1200" kern="1200" dirty="0">
                  <a:solidFill>
                    <a:srgbClr val="808080"/>
                  </a:solidFill>
                  <a:latin typeface="Verdana" panose="020B0604030504040204" pitchFamily="34" charset="0"/>
                  <a:ea typeface="+mn-ea"/>
                  <a:cs typeface="+mn-cs"/>
                </a:rPr>
                <a:t>Unit of measure</a:t>
              </a:r>
            </a:p>
          </p:txBody>
        </p:sp>
      </p:grpSp>
      <p:grpSp>
        <p:nvGrpSpPr>
          <p:cNvPr id="13" name="Sticker" hidden="1"/>
          <p:cNvGrpSpPr>
            <a:grpSpLocks/>
          </p:cNvGrpSpPr>
          <p:nvPr/>
        </p:nvGrpSpPr>
        <p:grpSpPr bwMode="auto">
          <a:xfrm>
            <a:off x="10433054" y="534989"/>
            <a:ext cx="1551516" cy="215901"/>
            <a:chOff x="4803" y="376"/>
            <a:chExt cx="703" cy="136"/>
          </a:xfrm>
        </p:grpSpPr>
        <p:cxnSp>
          <p:nvCxnSpPr>
            <p:cNvPr id="14" name="AutoShape 19"/>
            <p:cNvCxnSpPr>
              <a:cxnSpLocks noChangeShapeType="1"/>
            </p:cNvCxnSpPr>
            <p:nvPr userDrawn="1"/>
          </p:nvCxnSpPr>
          <p:spPr bwMode="gray">
            <a:xfrm>
              <a:off x="4803" y="512"/>
              <a:ext cx="703"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StickerRectangle"/>
            <p:cNvSpPr>
              <a:spLocks noChangeArrowheads="1"/>
            </p:cNvSpPr>
            <p:nvPr userDrawn="1"/>
          </p:nvSpPr>
          <p:spPr bwMode="gray">
            <a:xfrm>
              <a:off x="5113" y="376"/>
              <a:ext cx="393"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algn="r" fontAlgn="base">
                <a:spcBef>
                  <a:spcPct val="0"/>
                </a:spcBef>
                <a:spcAft>
                  <a:spcPct val="0"/>
                </a:spcAft>
                <a:buClrTx/>
                <a:buFontTx/>
                <a:buNone/>
              </a:pPr>
              <a:r>
                <a:rPr lang="en-US" altLang="en-US" sz="900" kern="1200" dirty="0">
                  <a:solidFill>
                    <a:srgbClr val="808080"/>
                  </a:solidFill>
                  <a:latin typeface="Verdana" panose="020B0604030504040204" pitchFamily="34" charset="0"/>
                  <a:ea typeface="+mn-ea"/>
                  <a:cs typeface="Arial" panose="020B0604020202020204" pitchFamily="34" charset="0"/>
                </a:rPr>
                <a:t>ILLUSTRATIVE</a:t>
              </a:r>
              <a:endParaRPr lang="en-US" altLang="en-US" sz="1351" kern="1200" dirty="0">
                <a:solidFill>
                  <a:srgbClr val="000000"/>
                </a:solidFill>
                <a:latin typeface="Verdana" panose="020B0604030504040204" pitchFamily="34" charset="0"/>
                <a:ea typeface="+mn-ea"/>
                <a:cs typeface="Arial" panose="020B0604020202020204" pitchFamily="34" charset="0"/>
              </a:endParaRPr>
            </a:p>
          </p:txBody>
        </p:sp>
        <p:cxnSp>
          <p:nvCxnSpPr>
            <p:cNvPr id="16" name="AutoShape 21"/>
            <p:cNvCxnSpPr>
              <a:cxnSpLocks noChangeShapeType="1"/>
            </p:cNvCxnSpPr>
            <p:nvPr userDrawn="1"/>
          </p:nvCxnSpPr>
          <p:spPr bwMode="gray">
            <a:xfrm>
              <a:off x="4803" y="376"/>
              <a:ext cx="0" cy="136"/>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7" name="LegendBoxes" hidden="1"/>
          <p:cNvGrpSpPr>
            <a:grpSpLocks/>
          </p:cNvGrpSpPr>
          <p:nvPr/>
        </p:nvGrpSpPr>
        <p:grpSpPr bwMode="auto">
          <a:xfrm>
            <a:off x="10909320" y="534988"/>
            <a:ext cx="764879" cy="1004625"/>
            <a:chOff x="4936" y="176"/>
            <a:chExt cx="354" cy="620"/>
          </a:xfrm>
        </p:grpSpPr>
        <p:sp>
          <p:nvSpPr>
            <p:cNvPr id="18" name="Legend1"/>
            <p:cNvSpPr>
              <a:spLocks noChangeArrowheads="1"/>
            </p:cNvSpPr>
            <p:nvPr/>
          </p:nvSpPr>
          <p:spPr bwMode="gray">
            <a:xfrm>
              <a:off x="5096" y="176"/>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20" name="Legend2"/>
            <p:cNvSpPr>
              <a:spLocks noChangeArrowheads="1"/>
            </p:cNvSpPr>
            <p:nvPr/>
          </p:nvSpPr>
          <p:spPr bwMode="gray">
            <a:xfrm>
              <a:off x="5096" y="346"/>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2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22" name="Legend3"/>
            <p:cNvSpPr>
              <a:spLocks noChangeArrowheads="1"/>
            </p:cNvSpPr>
            <p:nvPr/>
          </p:nvSpPr>
          <p:spPr bwMode="gray">
            <a:xfrm>
              <a:off x="5096" y="517"/>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2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24" name="Legend4"/>
            <p:cNvSpPr>
              <a:spLocks noChangeArrowheads="1"/>
            </p:cNvSpPr>
            <p:nvPr/>
          </p:nvSpPr>
          <p:spPr bwMode="gray">
            <a:xfrm>
              <a:off x="5096" y="688"/>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2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grpSp>
      <p:grpSp>
        <p:nvGrpSpPr>
          <p:cNvPr id="26" name="LegendLines" hidden="1"/>
          <p:cNvGrpSpPr>
            <a:grpSpLocks/>
          </p:cNvGrpSpPr>
          <p:nvPr/>
        </p:nvGrpSpPr>
        <p:grpSpPr bwMode="auto">
          <a:xfrm>
            <a:off x="10490213" y="534989"/>
            <a:ext cx="1183994" cy="695980"/>
            <a:chOff x="4750" y="176"/>
            <a:chExt cx="548" cy="430"/>
          </a:xfrm>
        </p:grpSpPr>
        <p:sp>
          <p:nvSpPr>
            <p:cNvPr id="2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2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2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30" name="Legend1"/>
            <p:cNvSpPr>
              <a:spLocks noChangeArrowheads="1"/>
            </p:cNvSpPr>
            <p:nvPr/>
          </p:nvSpPr>
          <p:spPr bwMode="gray">
            <a:xfrm>
              <a:off x="5104" y="176"/>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31" name="Legend2"/>
            <p:cNvSpPr>
              <a:spLocks noChangeArrowheads="1"/>
            </p:cNvSpPr>
            <p:nvPr/>
          </p:nvSpPr>
          <p:spPr bwMode="gray">
            <a:xfrm>
              <a:off x="5104" y="344"/>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32" name="Legend3"/>
            <p:cNvSpPr>
              <a:spLocks noChangeArrowheads="1"/>
            </p:cNvSpPr>
            <p:nvPr/>
          </p:nvSpPr>
          <p:spPr bwMode="gray">
            <a:xfrm>
              <a:off x="5104" y="520"/>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grpSp>
      <p:grpSp>
        <p:nvGrpSpPr>
          <p:cNvPr id="33" name="LegendMoons" hidden="1"/>
          <p:cNvGrpSpPr>
            <a:grpSpLocks/>
          </p:cNvGrpSpPr>
          <p:nvPr/>
        </p:nvGrpSpPr>
        <p:grpSpPr bwMode="auto">
          <a:xfrm>
            <a:off x="10818308" y="534989"/>
            <a:ext cx="856459" cy="1333500"/>
            <a:chOff x="7769225" y="2105025"/>
            <a:chExt cx="629238" cy="1306516"/>
          </a:xfrm>
        </p:grpSpPr>
        <p:grpSp>
          <p:nvGrpSpPr>
            <p:cNvPr id="34" name="MoonLegend1"/>
            <p:cNvGrpSpPr>
              <a:grpSpLocks noChangeAspect="1"/>
            </p:cNvGrpSpPr>
            <p:nvPr>
              <p:custDataLst>
                <p:tags r:id="rId3"/>
              </p:custDataLst>
            </p:nvPr>
          </p:nvGrpSpPr>
          <p:grpSpPr bwMode="auto">
            <a:xfrm>
              <a:off x="7769225" y="2105025"/>
              <a:ext cx="209550" cy="209551"/>
              <a:chOff x="4533" y="183"/>
              <a:chExt cx="144" cy="144"/>
            </a:xfrm>
          </p:grpSpPr>
          <p:sp>
            <p:nvSpPr>
              <p:cNvPr id="52" name="Oval 38"/>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53" name="Arc 39"/>
              <p:cNvSpPr>
                <a:spLocks noChangeAspect="1"/>
              </p:cNvSpPr>
              <p:nvPr>
                <p:custDataLst>
                  <p:tags r:id="rId17"/>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35" name="MoonLegend2"/>
            <p:cNvGrpSpPr>
              <a:grpSpLocks noChangeAspect="1"/>
            </p:cNvGrpSpPr>
            <p:nvPr>
              <p:custDataLst>
                <p:tags r:id="rId4"/>
              </p:custDataLst>
            </p:nvPr>
          </p:nvGrpSpPr>
          <p:grpSpPr bwMode="auto">
            <a:xfrm>
              <a:off x="7769225" y="2379266"/>
              <a:ext cx="209550" cy="209551"/>
              <a:chOff x="1694" y="2044"/>
              <a:chExt cx="160" cy="160"/>
            </a:xfrm>
          </p:grpSpPr>
          <p:sp>
            <p:nvSpPr>
              <p:cNvPr id="50" name="Oval 41"/>
              <p:cNvSpPr>
                <a:spLocks noChangeAspect="1" noChangeArrowheads="1"/>
              </p:cNvSpPr>
              <p:nvPr>
                <p:custDataLst>
                  <p:tags r:id="rId1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51" name="Arc 42"/>
              <p:cNvSpPr>
                <a:spLocks noChangeAspect="1"/>
              </p:cNvSpPr>
              <p:nvPr>
                <p:custDataLst>
                  <p:tags r:id="rId15"/>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36" name="MoonLegend4"/>
            <p:cNvGrpSpPr>
              <a:grpSpLocks noChangeAspect="1"/>
            </p:cNvGrpSpPr>
            <p:nvPr>
              <p:custDataLst>
                <p:tags r:id="rId5"/>
              </p:custDataLst>
            </p:nvPr>
          </p:nvGrpSpPr>
          <p:grpSpPr bwMode="auto">
            <a:xfrm>
              <a:off x="7769225" y="2927748"/>
              <a:ext cx="209550" cy="209551"/>
              <a:chOff x="4495" y="1198"/>
              <a:chExt cx="160" cy="160"/>
            </a:xfrm>
          </p:grpSpPr>
          <p:sp>
            <p:nvSpPr>
              <p:cNvPr id="4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49" name="Arc 48"/>
              <p:cNvSpPr>
                <a:spLocks noChangeAspect="1"/>
              </p:cNvSpPr>
              <p:nvPr>
                <p:custDataLst>
                  <p:tags r:id="rId13"/>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37" name="MoonLegend5"/>
            <p:cNvGrpSpPr>
              <a:grpSpLocks noChangeAspect="1"/>
            </p:cNvGrpSpPr>
            <p:nvPr>
              <p:custDataLst>
                <p:tags r:id="rId6"/>
              </p:custDataLst>
            </p:nvPr>
          </p:nvGrpSpPr>
          <p:grpSpPr bwMode="auto">
            <a:xfrm>
              <a:off x="7769225" y="3201990"/>
              <a:ext cx="209550" cy="209551"/>
              <a:chOff x="4495" y="1440"/>
              <a:chExt cx="160" cy="160"/>
            </a:xfrm>
          </p:grpSpPr>
          <p:sp>
            <p:nvSpPr>
              <p:cNvPr id="46" name="Oval 50"/>
              <p:cNvSpPr>
                <a:spLocks noChangeAspect="1" noChangeArrowheads="1"/>
              </p:cNvSpPr>
              <p:nvPr>
                <p:custDataLst>
                  <p:tags r:id="rId10"/>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47" name="Oval 51"/>
              <p:cNvSpPr>
                <a:spLocks noChangeAspect="1" noChangeArrowheads="1"/>
              </p:cNvSpPr>
              <p:nvPr>
                <p:custDataLst>
                  <p:tags r:id="rId11"/>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sp>
          <p:nvSpPr>
            <p:cNvPr id="38" name="Legend1"/>
            <p:cNvSpPr>
              <a:spLocks noChangeArrowheads="1"/>
            </p:cNvSpPr>
            <p:nvPr/>
          </p:nvSpPr>
          <p:spPr bwMode="gray">
            <a:xfrm>
              <a:off x="8089900" y="2117725"/>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39" name="Legend2"/>
            <p:cNvSpPr>
              <a:spLocks noChangeArrowheads="1"/>
            </p:cNvSpPr>
            <p:nvPr/>
          </p:nvSpPr>
          <p:spPr bwMode="gray">
            <a:xfrm>
              <a:off x="8089900" y="2392363"/>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40" name="Legend3"/>
            <p:cNvSpPr>
              <a:spLocks noChangeArrowheads="1"/>
            </p:cNvSpPr>
            <p:nvPr/>
          </p:nvSpPr>
          <p:spPr bwMode="gray">
            <a:xfrm>
              <a:off x="8089900" y="2667002"/>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41" name="Legend4"/>
            <p:cNvSpPr>
              <a:spLocks noChangeArrowheads="1"/>
            </p:cNvSpPr>
            <p:nvPr/>
          </p:nvSpPr>
          <p:spPr bwMode="gray">
            <a:xfrm>
              <a:off x="8089900" y="2938465"/>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42" name="Legend5"/>
            <p:cNvSpPr>
              <a:spLocks noChangeArrowheads="1"/>
            </p:cNvSpPr>
            <p:nvPr/>
          </p:nvSpPr>
          <p:spPr bwMode="gray">
            <a:xfrm>
              <a:off x="8089900" y="3214691"/>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grpSp>
          <p:nvGrpSpPr>
            <p:cNvPr id="43" name="MoonLegend3"/>
            <p:cNvGrpSpPr>
              <a:grpSpLocks noChangeAspect="1"/>
            </p:cNvGrpSpPr>
            <p:nvPr>
              <p:custDataLst>
                <p:tags r:id="rId7"/>
              </p:custDataLst>
            </p:nvPr>
          </p:nvGrpSpPr>
          <p:grpSpPr bwMode="auto">
            <a:xfrm>
              <a:off x="7769225" y="2653507"/>
              <a:ext cx="209550" cy="209551"/>
              <a:chOff x="4495" y="1198"/>
              <a:chExt cx="160" cy="160"/>
            </a:xfrm>
          </p:grpSpPr>
          <p:sp>
            <p:nvSpPr>
              <p:cNvPr id="44" name="Oval 47"/>
              <p:cNvSpPr>
                <a:spLocks noChangeAspect="1" noChangeArrowheads="1"/>
              </p:cNvSpPr>
              <p:nvPr>
                <p:custDataLst>
                  <p:tags r:id="rId8"/>
                </p:custDataLst>
              </p:nvPr>
            </p:nvSpPr>
            <p:spPr bwMode="gray">
              <a:xfrm>
                <a:off x="4495" y="1198"/>
                <a:ext cx="160" cy="159"/>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45" name="Arc 48"/>
              <p:cNvSpPr>
                <a:spLocks noChangeAspect="1"/>
              </p:cNvSpPr>
              <p:nvPr>
                <p:custDataLst>
                  <p:tags r:id="rId9"/>
                </p:custDataLst>
              </p:nvPr>
            </p:nvSpPr>
            <p:spPr bwMode="gray">
              <a:xfrm>
                <a:off x="4495" y="1198"/>
                <a:ext cx="160" cy="159"/>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graphicFrame>
        <p:nvGraphicFramePr>
          <p:cNvPr id="57" name="Object 60" hidden="1"/>
          <p:cNvGraphicFramePr>
            <a:graphicFrameLocks noChangeAspect="1"/>
          </p:cNvGraphicFramePr>
          <p:nvPr/>
        </p:nvGraphicFramePr>
        <p:xfrm>
          <a:off x="1" y="1"/>
          <a:ext cx="211667" cy="158751"/>
        </p:xfrm>
        <a:graphic>
          <a:graphicData uri="http://schemas.openxmlformats.org/presentationml/2006/ole">
            <mc:AlternateContent xmlns:mc="http://schemas.openxmlformats.org/markup-compatibility/2006">
              <mc:Choice xmlns:v="urn:schemas-microsoft-com:vml" Requires="v">
                <p:oleObj spid="_x0000_s4099" name="think-cell Slide" r:id="rId21" imgW="360" imgH="360" progId="TCLayout.ActiveDocument.1">
                  <p:embed/>
                </p:oleObj>
              </mc:Choice>
              <mc:Fallback>
                <p:oleObj name="think-cell Slide" r:id="rId21" imgW="360" imgH="360" progId="TCLayout.ActiveDocument.1">
                  <p:embed/>
                  <p:pic>
                    <p:nvPicPr>
                      <p:cNvPr id="57" name="Object 6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 name="Rectangle 286"/>
          <p:cNvSpPr>
            <a:spLocks noGrp="1" noChangeArrowheads="1"/>
          </p:cNvSpPr>
          <p:nvPr>
            <p:ph idx="1"/>
          </p:nvPr>
        </p:nvSpPr>
        <p:spPr bwMode="gray">
          <a:xfrm>
            <a:off x="211767" y="1180701"/>
            <a:ext cx="11722720" cy="923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0" name="Title Placeholder 2"/>
          <p:cNvSpPr>
            <a:spLocks noGrp="1" noChangeArrowheads="1"/>
          </p:cNvSpPr>
          <p:nvPr>
            <p:ph type="title"/>
          </p:nvPr>
        </p:nvSpPr>
        <p:spPr bwMode="gray">
          <a:xfrm>
            <a:off x="182035" y="161453"/>
            <a:ext cx="12009967" cy="61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sz="1651"/>
            </a:lvl1pPr>
          </a:lstStyle>
          <a:p>
            <a:pPr lvl="0"/>
            <a:r>
              <a:rPr lang="en-US" altLang="en-US" dirty="0"/>
              <a:t>Click to edit Master title style</a:t>
            </a:r>
          </a:p>
        </p:txBody>
      </p:sp>
      <p:sp>
        <p:nvSpPr>
          <p:cNvPr id="61" name="Line 7"/>
          <p:cNvSpPr>
            <a:spLocks noChangeShapeType="1"/>
          </p:cNvSpPr>
          <p:nvPr userDrawn="1"/>
        </p:nvSpPr>
        <p:spPr bwMode="gray">
          <a:xfrm flipV="1">
            <a:off x="1071" y="837419"/>
            <a:ext cx="12192000" cy="1588"/>
          </a:xfrm>
          <a:prstGeom prst="line">
            <a:avLst/>
          </a:prstGeom>
          <a:noFill/>
          <a:ln w="12700">
            <a:solidFill>
              <a:srgbClr val="56AA1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buClrTx/>
              <a:buFontTx/>
              <a:buNone/>
            </a:pPr>
            <a:endParaRPr lang="en-US" sz="1200" kern="1200" dirty="0">
              <a:latin typeface="Arial" panose="020B0604020202020204" pitchFamily="34" charset="0"/>
              <a:ea typeface="+mn-ea"/>
              <a:cs typeface="+mn-cs"/>
            </a:endParaRPr>
          </a:p>
        </p:txBody>
      </p:sp>
      <p:pic>
        <p:nvPicPr>
          <p:cNvPr id="63" name="Picture 62"/>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a:off x="-12771" y="6326797"/>
            <a:ext cx="11115885" cy="533475"/>
          </a:xfrm>
          <a:prstGeom prst="rect">
            <a:avLst/>
          </a:prstGeom>
        </p:spPr>
      </p:pic>
      <p:sp>
        <p:nvSpPr>
          <p:cNvPr id="64" name="Text Box 8"/>
          <p:cNvSpPr txBox="1">
            <a:spLocks noChangeArrowheads="1"/>
          </p:cNvSpPr>
          <p:nvPr userDrawn="1"/>
        </p:nvSpPr>
        <p:spPr bwMode="gray">
          <a:xfrm>
            <a:off x="3712727" y="6646293"/>
            <a:ext cx="382199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fontAlgn="base">
              <a:spcBef>
                <a:spcPct val="0"/>
              </a:spcBef>
              <a:spcAft>
                <a:spcPct val="0"/>
              </a:spcAft>
              <a:buClrTx/>
              <a:buFontTx/>
              <a:buNone/>
            </a:pPr>
            <a:r>
              <a:rPr lang="en-US" altLang="en-US" sz="600" kern="1200" dirty="0">
                <a:solidFill>
                  <a:srgbClr val="FFFFFF"/>
                </a:solidFill>
                <a:latin typeface="Verdana" panose="020B0604030504040204" pitchFamily="34" charset="0"/>
                <a:ea typeface="+mn-ea"/>
                <a:cs typeface="Arial" panose="020B0604020202020204" pitchFamily="34" charset="0"/>
              </a:rPr>
              <a:t>--- Sysco Proprietary and Confidential ---</a:t>
            </a:r>
            <a:endParaRPr lang="en-US" altLang="en-US" sz="1051" kern="1200" dirty="0">
              <a:solidFill>
                <a:srgbClr val="FFFFFF"/>
              </a:solidFill>
              <a:ea typeface="+mn-ea"/>
              <a:cs typeface="Arial" panose="020B0604020202020204" pitchFamily="34" charset="0"/>
            </a:endParaRPr>
          </a:p>
        </p:txBody>
      </p:sp>
      <p:sp>
        <p:nvSpPr>
          <p:cNvPr id="66" name="Shape 8"/>
          <p:cNvSpPr txBox="1">
            <a:spLocks/>
          </p:cNvSpPr>
          <p:nvPr userDrawn="1"/>
        </p:nvSpPr>
        <p:spPr>
          <a:xfrm>
            <a:off x="5715585" y="6411717"/>
            <a:ext cx="731600" cy="388235"/>
          </a:xfrm>
          <a:prstGeom prst="rect">
            <a:avLst/>
          </a:prstGeom>
          <a:noFill/>
          <a:ln>
            <a:noFill/>
          </a:ln>
        </p:spPr>
        <p:txBody>
          <a:bodyPr spcFirstLastPara="1" wrap="square" lIns="68569" tIns="68569" rIns="68569" bIns="68569"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chemeClr val="dk2"/>
              </a:buClr>
              <a:buSzPts val="1000"/>
              <a:buFont typeface="Arial"/>
              <a:buNone/>
              <a:defRPr sz="1083" b="0"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9pPr>
          </a:lstStyle>
          <a:p>
            <a:fld id="{00000000-1234-1234-1234-123412341234}" type="slidenum">
              <a:rPr lang="en" sz="812" smtClean="0"/>
              <a:pPr/>
              <a:t>‹N°›</a:t>
            </a:fld>
            <a:endParaRPr lang="en" sz="812" dirty="0"/>
          </a:p>
        </p:txBody>
      </p:sp>
      <p:pic>
        <p:nvPicPr>
          <p:cNvPr id="62" name="Picture 61"/>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1242989" y="6343846"/>
            <a:ext cx="933012" cy="499167"/>
          </a:xfrm>
          <a:prstGeom prst="rect">
            <a:avLst/>
          </a:prstGeom>
        </p:spPr>
      </p:pic>
    </p:spTree>
    <p:extLst>
      <p:ext uri="{BB962C8B-B14F-4D97-AF65-F5344CB8AC3E}">
        <p14:creationId xmlns:p14="http://schemas.microsoft.com/office/powerpoint/2010/main" val="763593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vertical et texte">
    <p:spTree>
      <p:nvGrpSpPr>
        <p:cNvPr id="1" name=""/>
        <p:cNvGrpSpPr/>
        <p:nvPr/>
      </p:nvGrpSpPr>
      <p:grpSpPr>
        <a:xfrm>
          <a:off x="0" y="0"/>
          <a:ext cx="0" cy="0"/>
          <a:chOff x="0" y="0"/>
          <a:chExt cx="0" cy="0"/>
        </a:xfrm>
      </p:grpSpPr>
      <p:sp>
        <p:nvSpPr>
          <p:cNvPr id="7" name="Espace réservé du titre 1"/>
          <p:cNvSpPr>
            <a:spLocks noGrp="1"/>
          </p:cNvSpPr>
          <p:nvPr>
            <p:ph type="title"/>
          </p:nvPr>
        </p:nvSpPr>
        <p:spPr>
          <a:xfrm>
            <a:off x="838200" y="2766218"/>
            <a:ext cx="10515600" cy="1325563"/>
          </a:xfrm>
          <a:prstGeom prst="rect">
            <a:avLst/>
          </a:prstGeom>
        </p:spPr>
        <p:txBody>
          <a:bodyPr vert="horz" lIns="91440" tIns="45720" rIns="91440" bIns="45720" rtlCol="0" anchor="ctr">
            <a:normAutofit/>
          </a:bodyPr>
          <a:lstStyle/>
          <a:p>
            <a:endParaRPr lang="fr-FR"/>
          </a:p>
        </p:txBody>
      </p:sp>
    </p:spTree>
    <p:extLst>
      <p:ext uri="{BB962C8B-B14F-4D97-AF65-F5344CB8AC3E}">
        <p14:creationId xmlns:p14="http://schemas.microsoft.com/office/powerpoint/2010/main" val="19751537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sp>
        <p:nvSpPr>
          <p:cNvPr id="29" name="Slide Number Placeholder 8">
            <a:extLst>
              <a:ext uri="{FF2B5EF4-FFF2-40B4-BE49-F238E27FC236}">
                <a16:creationId xmlns:a16="http://schemas.microsoft.com/office/drawing/2014/main" id="{2EFCACBF-0F01-184E-B064-7AEB9FD6291F}"/>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
        <p:nvSpPr>
          <p:cNvPr id="2" name="Rectangle 1">
            <a:extLst>
              <a:ext uri="{FF2B5EF4-FFF2-40B4-BE49-F238E27FC236}">
                <a16:creationId xmlns:a16="http://schemas.microsoft.com/office/drawing/2014/main" id="{57818E68-3964-6F47-8235-88E92531DA45}"/>
              </a:ext>
            </a:extLst>
          </p:cNvPr>
          <p:cNvSpPr/>
          <p:nvPr userDrawn="1"/>
        </p:nvSpPr>
        <p:spPr>
          <a:xfrm>
            <a:off x="0" y="-13854"/>
            <a:ext cx="10970565" cy="6884732"/>
          </a:xfrm>
          <a:custGeom>
            <a:avLst/>
            <a:gdLst>
              <a:gd name="connsiteX0" fmla="*/ 0 w 9865217"/>
              <a:gd name="connsiteY0" fmla="*/ 0 h 6858000"/>
              <a:gd name="connsiteX1" fmla="*/ 9865217 w 9865217"/>
              <a:gd name="connsiteY1" fmla="*/ 0 h 6858000"/>
              <a:gd name="connsiteX2" fmla="*/ 9865217 w 9865217"/>
              <a:gd name="connsiteY2" fmla="*/ 6858000 h 6858000"/>
              <a:gd name="connsiteX3" fmla="*/ 0 w 9865217"/>
              <a:gd name="connsiteY3" fmla="*/ 6858000 h 6858000"/>
              <a:gd name="connsiteX4" fmla="*/ 0 w 9865217"/>
              <a:gd name="connsiteY4" fmla="*/ 0 h 6858000"/>
              <a:gd name="connsiteX0" fmla="*/ 0 w 9865217"/>
              <a:gd name="connsiteY0" fmla="*/ 0 h 6858000"/>
              <a:gd name="connsiteX1" fmla="*/ 9865217 w 9865217"/>
              <a:gd name="connsiteY1" fmla="*/ 0 h 6858000"/>
              <a:gd name="connsiteX2" fmla="*/ 9865217 w 9865217"/>
              <a:gd name="connsiteY2" fmla="*/ 6858000 h 6858000"/>
              <a:gd name="connsiteX3" fmla="*/ 0 w 9865217"/>
              <a:gd name="connsiteY3" fmla="*/ 6858000 h 6858000"/>
              <a:gd name="connsiteX4" fmla="*/ 0 w 9865217"/>
              <a:gd name="connsiteY4" fmla="*/ 0 h 6858000"/>
              <a:gd name="connsiteX0" fmla="*/ 0 w 10625070"/>
              <a:gd name="connsiteY0" fmla="*/ 0 h 6870878"/>
              <a:gd name="connsiteX1" fmla="*/ 9865217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573555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573555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625070"/>
              <a:gd name="connsiteY0" fmla="*/ 0 h 6870878"/>
              <a:gd name="connsiteX1" fmla="*/ 10199482 w 10625070"/>
              <a:gd name="connsiteY1" fmla="*/ 0 h 6870878"/>
              <a:gd name="connsiteX2" fmla="*/ 10625070 w 10625070"/>
              <a:gd name="connsiteY2" fmla="*/ 6870878 h 6870878"/>
              <a:gd name="connsiteX3" fmla="*/ 0 w 10625070"/>
              <a:gd name="connsiteY3" fmla="*/ 6858000 h 6870878"/>
              <a:gd name="connsiteX4" fmla="*/ 0 w 10625070"/>
              <a:gd name="connsiteY4" fmla="*/ 0 h 6870878"/>
              <a:gd name="connsiteX0" fmla="*/ 0 w 10860349"/>
              <a:gd name="connsiteY0" fmla="*/ 0 h 6870878"/>
              <a:gd name="connsiteX1" fmla="*/ 10199482 w 10860349"/>
              <a:gd name="connsiteY1" fmla="*/ 0 h 6870878"/>
              <a:gd name="connsiteX2" fmla="*/ 10625070 w 10860349"/>
              <a:gd name="connsiteY2" fmla="*/ 6870878 h 6870878"/>
              <a:gd name="connsiteX3" fmla="*/ 0 w 10860349"/>
              <a:gd name="connsiteY3" fmla="*/ 6858000 h 6870878"/>
              <a:gd name="connsiteX4" fmla="*/ 0 w 10860349"/>
              <a:gd name="connsiteY4" fmla="*/ 0 h 6870878"/>
              <a:gd name="connsiteX0" fmla="*/ 0 w 10769597"/>
              <a:gd name="connsiteY0" fmla="*/ 0 h 6870878"/>
              <a:gd name="connsiteX1" fmla="*/ 10033227 w 10769597"/>
              <a:gd name="connsiteY1" fmla="*/ 0 h 6870878"/>
              <a:gd name="connsiteX2" fmla="*/ 10625070 w 10769597"/>
              <a:gd name="connsiteY2" fmla="*/ 6870878 h 6870878"/>
              <a:gd name="connsiteX3" fmla="*/ 0 w 10769597"/>
              <a:gd name="connsiteY3" fmla="*/ 6858000 h 6870878"/>
              <a:gd name="connsiteX4" fmla="*/ 0 w 10769597"/>
              <a:gd name="connsiteY4" fmla="*/ 0 h 6870878"/>
              <a:gd name="connsiteX0" fmla="*/ 0 w 10913304"/>
              <a:gd name="connsiteY0" fmla="*/ 0 h 6870878"/>
              <a:gd name="connsiteX1" fmla="*/ 10033227 w 10913304"/>
              <a:gd name="connsiteY1" fmla="*/ 0 h 6870878"/>
              <a:gd name="connsiteX2" fmla="*/ 10625070 w 10913304"/>
              <a:gd name="connsiteY2" fmla="*/ 6870878 h 6870878"/>
              <a:gd name="connsiteX3" fmla="*/ 0 w 10913304"/>
              <a:gd name="connsiteY3" fmla="*/ 6858000 h 6870878"/>
              <a:gd name="connsiteX4" fmla="*/ 0 w 10913304"/>
              <a:gd name="connsiteY4" fmla="*/ 0 h 6870878"/>
              <a:gd name="connsiteX0" fmla="*/ 0 w 11252668"/>
              <a:gd name="connsiteY0" fmla="*/ 0 h 6870878"/>
              <a:gd name="connsiteX1" fmla="*/ 10033227 w 11252668"/>
              <a:gd name="connsiteY1" fmla="*/ 0 h 6870878"/>
              <a:gd name="connsiteX2" fmla="*/ 10625070 w 11252668"/>
              <a:gd name="connsiteY2" fmla="*/ 6870878 h 6870878"/>
              <a:gd name="connsiteX3" fmla="*/ 0 w 11252668"/>
              <a:gd name="connsiteY3" fmla="*/ 6858000 h 6870878"/>
              <a:gd name="connsiteX4" fmla="*/ 0 w 11252668"/>
              <a:gd name="connsiteY4" fmla="*/ 0 h 6870878"/>
              <a:gd name="connsiteX0" fmla="*/ 0 w 11190534"/>
              <a:gd name="connsiteY0" fmla="*/ 13854 h 6884732"/>
              <a:gd name="connsiteX1" fmla="*/ 9922391 w 11190534"/>
              <a:gd name="connsiteY1" fmla="*/ 0 h 6884732"/>
              <a:gd name="connsiteX2" fmla="*/ 10625070 w 11190534"/>
              <a:gd name="connsiteY2" fmla="*/ 6884732 h 6884732"/>
              <a:gd name="connsiteX3" fmla="*/ 0 w 11190534"/>
              <a:gd name="connsiteY3" fmla="*/ 6871854 h 6884732"/>
              <a:gd name="connsiteX4" fmla="*/ 0 w 11190534"/>
              <a:gd name="connsiteY4" fmla="*/ 13854 h 6884732"/>
              <a:gd name="connsiteX0" fmla="*/ 0 w 10970565"/>
              <a:gd name="connsiteY0" fmla="*/ 13854 h 6884732"/>
              <a:gd name="connsiteX1" fmla="*/ 9922391 w 10970565"/>
              <a:gd name="connsiteY1" fmla="*/ 0 h 6884732"/>
              <a:gd name="connsiteX2" fmla="*/ 10625070 w 10970565"/>
              <a:gd name="connsiteY2" fmla="*/ 6884732 h 6884732"/>
              <a:gd name="connsiteX3" fmla="*/ 0 w 10970565"/>
              <a:gd name="connsiteY3" fmla="*/ 6871854 h 6884732"/>
              <a:gd name="connsiteX4" fmla="*/ 0 w 10970565"/>
              <a:gd name="connsiteY4" fmla="*/ 13854 h 6884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0565" h="6884732">
                <a:moveTo>
                  <a:pt x="0" y="13854"/>
                </a:moveTo>
                <a:lnTo>
                  <a:pt x="9922391" y="0"/>
                </a:lnTo>
                <a:cubicBezTo>
                  <a:pt x="11997450" y="4011964"/>
                  <a:pt x="10292561" y="4723422"/>
                  <a:pt x="10625070" y="6884732"/>
                </a:cubicBezTo>
                <a:lnTo>
                  <a:pt x="0" y="6871854"/>
                </a:lnTo>
                <a:lnTo>
                  <a:pt x="0" y="13854"/>
                </a:lnTo>
                <a:close/>
              </a:path>
            </a:pathLst>
          </a:custGeom>
          <a:solidFill>
            <a:schemeClr val="bg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3A3BD98-EF49-DC45-93C9-B65DE5EB6D63}"/>
              </a:ext>
            </a:extLst>
          </p:cNvPr>
          <p:cNvSpPr/>
          <p:nvPr userDrawn="1"/>
        </p:nvSpPr>
        <p:spPr>
          <a:xfrm>
            <a:off x="1" y="-7903"/>
            <a:ext cx="3271978" cy="6885221"/>
          </a:xfrm>
          <a:custGeom>
            <a:avLst/>
            <a:gdLst>
              <a:gd name="connsiteX0" fmla="*/ 0 w 3657600"/>
              <a:gd name="connsiteY0" fmla="*/ 0 h 6864439"/>
              <a:gd name="connsiteX1" fmla="*/ 3657600 w 3657600"/>
              <a:gd name="connsiteY1" fmla="*/ 0 h 6864439"/>
              <a:gd name="connsiteX2" fmla="*/ 3657600 w 3657600"/>
              <a:gd name="connsiteY2" fmla="*/ 6864439 h 6864439"/>
              <a:gd name="connsiteX3" fmla="*/ 0 w 3657600"/>
              <a:gd name="connsiteY3" fmla="*/ 6864439 h 6864439"/>
              <a:gd name="connsiteX4" fmla="*/ 0 w 3657600"/>
              <a:gd name="connsiteY4" fmla="*/ 0 h 6864439"/>
              <a:gd name="connsiteX0" fmla="*/ 0 w 4659289"/>
              <a:gd name="connsiteY0" fmla="*/ 0 h 6864439"/>
              <a:gd name="connsiteX1" fmla="*/ 3657600 w 4659289"/>
              <a:gd name="connsiteY1" fmla="*/ 0 h 6864439"/>
              <a:gd name="connsiteX2" fmla="*/ 3657600 w 4659289"/>
              <a:gd name="connsiteY2" fmla="*/ 6864439 h 6864439"/>
              <a:gd name="connsiteX3" fmla="*/ 0 w 4659289"/>
              <a:gd name="connsiteY3" fmla="*/ 6864439 h 6864439"/>
              <a:gd name="connsiteX4" fmla="*/ 0 w 4659289"/>
              <a:gd name="connsiteY4" fmla="*/ 0 h 6864439"/>
              <a:gd name="connsiteX0" fmla="*/ 0 w 4739451"/>
              <a:gd name="connsiteY0" fmla="*/ 0 h 6864439"/>
              <a:gd name="connsiteX1" fmla="*/ 3657600 w 4739451"/>
              <a:gd name="connsiteY1" fmla="*/ 0 h 6864439"/>
              <a:gd name="connsiteX2" fmla="*/ 3657600 w 4739451"/>
              <a:gd name="connsiteY2" fmla="*/ 6864439 h 6864439"/>
              <a:gd name="connsiteX3" fmla="*/ 0 w 4739451"/>
              <a:gd name="connsiteY3" fmla="*/ 6864439 h 6864439"/>
              <a:gd name="connsiteX4" fmla="*/ 0 w 4739451"/>
              <a:gd name="connsiteY4" fmla="*/ 0 h 6864439"/>
              <a:gd name="connsiteX0" fmla="*/ 0 w 4683647"/>
              <a:gd name="connsiteY0" fmla="*/ 0 h 6864439"/>
              <a:gd name="connsiteX1" fmla="*/ 3657600 w 4683647"/>
              <a:gd name="connsiteY1" fmla="*/ 0 h 6864439"/>
              <a:gd name="connsiteX2" fmla="*/ 3657600 w 4683647"/>
              <a:gd name="connsiteY2" fmla="*/ 6864439 h 6864439"/>
              <a:gd name="connsiteX3" fmla="*/ 0 w 4683647"/>
              <a:gd name="connsiteY3" fmla="*/ 6864439 h 6864439"/>
              <a:gd name="connsiteX4" fmla="*/ 0 w 4683647"/>
              <a:gd name="connsiteY4" fmla="*/ 0 h 6864439"/>
              <a:gd name="connsiteX0" fmla="*/ 0 w 4624193"/>
              <a:gd name="connsiteY0" fmla="*/ 0 h 6877318"/>
              <a:gd name="connsiteX1" fmla="*/ 3657600 w 4624193"/>
              <a:gd name="connsiteY1" fmla="*/ 0 h 6877318"/>
              <a:gd name="connsiteX2" fmla="*/ 3424319 w 4624193"/>
              <a:gd name="connsiteY2" fmla="*/ 6877318 h 6877318"/>
              <a:gd name="connsiteX3" fmla="*/ 0 w 4624193"/>
              <a:gd name="connsiteY3" fmla="*/ 6864439 h 6877318"/>
              <a:gd name="connsiteX4" fmla="*/ 0 w 4624193"/>
              <a:gd name="connsiteY4" fmla="*/ 0 h 6877318"/>
              <a:gd name="connsiteX0" fmla="*/ 0 w 4658687"/>
              <a:gd name="connsiteY0" fmla="*/ 0 h 6877318"/>
              <a:gd name="connsiteX1" fmla="*/ 3657600 w 4658687"/>
              <a:gd name="connsiteY1" fmla="*/ 0 h 6877318"/>
              <a:gd name="connsiteX2" fmla="*/ 3424319 w 4658687"/>
              <a:gd name="connsiteY2" fmla="*/ 6877318 h 6877318"/>
              <a:gd name="connsiteX3" fmla="*/ 0 w 4658687"/>
              <a:gd name="connsiteY3" fmla="*/ 6864439 h 6877318"/>
              <a:gd name="connsiteX4" fmla="*/ 0 w 4658687"/>
              <a:gd name="connsiteY4" fmla="*/ 0 h 6877318"/>
              <a:gd name="connsiteX0" fmla="*/ 0 w 4527149"/>
              <a:gd name="connsiteY0" fmla="*/ 0 h 6877318"/>
              <a:gd name="connsiteX1" fmla="*/ 3478153 w 4527149"/>
              <a:gd name="connsiteY1" fmla="*/ 12879 h 6877318"/>
              <a:gd name="connsiteX2" fmla="*/ 3424319 w 4527149"/>
              <a:gd name="connsiteY2" fmla="*/ 6877318 h 6877318"/>
              <a:gd name="connsiteX3" fmla="*/ 0 w 4527149"/>
              <a:gd name="connsiteY3" fmla="*/ 6864439 h 6877318"/>
              <a:gd name="connsiteX4" fmla="*/ 0 w 4527149"/>
              <a:gd name="connsiteY4" fmla="*/ 0 h 6877318"/>
              <a:gd name="connsiteX0" fmla="*/ 0 w 4559005"/>
              <a:gd name="connsiteY0" fmla="*/ 0 h 6877318"/>
              <a:gd name="connsiteX1" fmla="*/ 3478153 w 4559005"/>
              <a:gd name="connsiteY1" fmla="*/ 12879 h 6877318"/>
              <a:gd name="connsiteX2" fmla="*/ 3424319 w 4559005"/>
              <a:gd name="connsiteY2" fmla="*/ 6877318 h 6877318"/>
              <a:gd name="connsiteX3" fmla="*/ 0 w 4559005"/>
              <a:gd name="connsiteY3" fmla="*/ 6864439 h 6877318"/>
              <a:gd name="connsiteX4" fmla="*/ 0 w 4559005"/>
              <a:gd name="connsiteY4" fmla="*/ 0 h 6877318"/>
              <a:gd name="connsiteX0" fmla="*/ 0 w 4559005"/>
              <a:gd name="connsiteY0" fmla="*/ 7903 h 6885221"/>
              <a:gd name="connsiteX1" fmla="*/ 3478153 w 4559005"/>
              <a:gd name="connsiteY1" fmla="*/ 0 h 6885221"/>
              <a:gd name="connsiteX2" fmla="*/ 3424319 w 4559005"/>
              <a:gd name="connsiteY2" fmla="*/ 6885221 h 6885221"/>
              <a:gd name="connsiteX3" fmla="*/ 0 w 4559005"/>
              <a:gd name="connsiteY3" fmla="*/ 6872342 h 6885221"/>
              <a:gd name="connsiteX4" fmla="*/ 0 w 4559005"/>
              <a:gd name="connsiteY4" fmla="*/ 7903 h 6885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9005" h="6885221">
                <a:moveTo>
                  <a:pt x="0" y="7903"/>
                </a:moveTo>
                <a:lnTo>
                  <a:pt x="3478153" y="0"/>
                </a:lnTo>
                <a:cubicBezTo>
                  <a:pt x="5803733" y="4104068"/>
                  <a:pt x="3693488" y="4880411"/>
                  <a:pt x="3424319" y="6885221"/>
                </a:cubicBezTo>
                <a:lnTo>
                  <a:pt x="0" y="6872342"/>
                </a:lnTo>
                <a:lnTo>
                  <a:pt x="0" y="7903"/>
                </a:lnTo>
                <a:close/>
              </a:path>
            </a:pathLst>
          </a:custGeom>
          <a:solidFill>
            <a:schemeClr val="tx2"/>
          </a:solidFill>
          <a:ln>
            <a:noFill/>
          </a:ln>
          <a:effectLst>
            <a:outerShdw blurRad="127000" dist="38100" algn="l" rotWithShape="0">
              <a:schemeClr val="tx2">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2228790-4FBE-9048-A37E-8D8E927769E9}"/>
              </a:ext>
            </a:extLst>
          </p:cNvPr>
          <p:cNvSpPr>
            <a:spLocks noGrp="1"/>
          </p:cNvSpPr>
          <p:nvPr>
            <p:ph type="body" sz="quarter" idx="10" hasCustomPrompt="1"/>
          </p:nvPr>
        </p:nvSpPr>
        <p:spPr>
          <a:xfrm>
            <a:off x="330200" y="2768918"/>
            <a:ext cx="3022600" cy="1320165"/>
          </a:xfrm>
        </p:spPr>
        <p:txBody>
          <a:bodyPr anchor="ctr">
            <a:normAutofit/>
          </a:bodyPr>
          <a:lstStyle>
            <a:lvl1pPr>
              <a:defRPr sz="4400" b="1" spc="300">
                <a:solidFill>
                  <a:schemeClr val="accent4"/>
                </a:solidFill>
              </a:defRPr>
            </a:lvl1pPr>
          </a:lstStyle>
          <a:p>
            <a:pPr lvl="0"/>
            <a:r>
              <a:rPr lang="en-US"/>
              <a:t>AGENDA</a:t>
            </a:r>
          </a:p>
        </p:txBody>
      </p:sp>
      <p:sp>
        <p:nvSpPr>
          <p:cNvPr id="13" name="01">
            <a:extLst>
              <a:ext uri="{FF2B5EF4-FFF2-40B4-BE49-F238E27FC236}">
                <a16:creationId xmlns:a16="http://schemas.microsoft.com/office/drawing/2014/main" id="{EB777D7F-18FC-9741-AE6C-122C846AB789}"/>
              </a:ext>
            </a:extLst>
          </p:cNvPr>
          <p:cNvSpPr>
            <a:spLocks noGrp="1" noChangeAspect="1"/>
          </p:cNvSpPr>
          <p:nvPr>
            <p:ph type="body" sz="quarter" idx="13" hasCustomPrompt="1"/>
          </p:nvPr>
        </p:nvSpPr>
        <p:spPr>
          <a:xfrm>
            <a:off x="3828642" y="55611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1</a:t>
            </a:r>
          </a:p>
        </p:txBody>
      </p:sp>
      <p:sp>
        <p:nvSpPr>
          <p:cNvPr id="14" name="Agenda 1">
            <a:extLst>
              <a:ext uri="{FF2B5EF4-FFF2-40B4-BE49-F238E27FC236}">
                <a16:creationId xmlns:a16="http://schemas.microsoft.com/office/drawing/2014/main" id="{179A9E0F-9A79-4B44-ACC0-7159976F58AD}"/>
              </a:ext>
            </a:extLst>
          </p:cNvPr>
          <p:cNvSpPr>
            <a:spLocks noGrp="1"/>
          </p:cNvSpPr>
          <p:nvPr>
            <p:ph type="body" sz="quarter" idx="15" hasCustomPrompt="1"/>
          </p:nvPr>
        </p:nvSpPr>
        <p:spPr>
          <a:xfrm>
            <a:off x="4507296" y="62041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1</a:t>
            </a:r>
          </a:p>
        </p:txBody>
      </p:sp>
      <p:sp>
        <p:nvSpPr>
          <p:cNvPr id="15" name="01">
            <a:extLst>
              <a:ext uri="{FF2B5EF4-FFF2-40B4-BE49-F238E27FC236}">
                <a16:creationId xmlns:a16="http://schemas.microsoft.com/office/drawing/2014/main" id="{DE70DC25-FDA8-B941-80D7-EEDD99807AB9}"/>
              </a:ext>
            </a:extLst>
          </p:cNvPr>
          <p:cNvSpPr>
            <a:spLocks noGrp="1" noChangeAspect="1"/>
          </p:cNvSpPr>
          <p:nvPr>
            <p:ph type="body" sz="quarter" idx="16" hasCustomPrompt="1"/>
          </p:nvPr>
        </p:nvSpPr>
        <p:spPr>
          <a:xfrm>
            <a:off x="3866442" y="131811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2</a:t>
            </a:r>
          </a:p>
        </p:txBody>
      </p:sp>
      <p:sp>
        <p:nvSpPr>
          <p:cNvPr id="16" name="Agenda 1">
            <a:extLst>
              <a:ext uri="{FF2B5EF4-FFF2-40B4-BE49-F238E27FC236}">
                <a16:creationId xmlns:a16="http://schemas.microsoft.com/office/drawing/2014/main" id="{E262E562-4385-0C49-8D49-EE642331BBB9}"/>
              </a:ext>
            </a:extLst>
          </p:cNvPr>
          <p:cNvSpPr>
            <a:spLocks noGrp="1"/>
          </p:cNvSpPr>
          <p:nvPr>
            <p:ph type="body" sz="quarter" idx="17" hasCustomPrompt="1"/>
          </p:nvPr>
        </p:nvSpPr>
        <p:spPr>
          <a:xfrm>
            <a:off x="4545096" y="138241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2</a:t>
            </a:r>
          </a:p>
        </p:txBody>
      </p:sp>
      <p:sp>
        <p:nvSpPr>
          <p:cNvPr id="17" name="01">
            <a:extLst>
              <a:ext uri="{FF2B5EF4-FFF2-40B4-BE49-F238E27FC236}">
                <a16:creationId xmlns:a16="http://schemas.microsoft.com/office/drawing/2014/main" id="{4F605E83-65EF-B04F-96DA-9CED8F1DD7A0}"/>
              </a:ext>
            </a:extLst>
          </p:cNvPr>
          <p:cNvSpPr>
            <a:spLocks noGrp="1" noChangeAspect="1"/>
          </p:cNvSpPr>
          <p:nvPr>
            <p:ph type="body" sz="quarter" idx="18" hasCustomPrompt="1"/>
          </p:nvPr>
        </p:nvSpPr>
        <p:spPr>
          <a:xfrm>
            <a:off x="3866442" y="2082529"/>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3</a:t>
            </a:r>
          </a:p>
        </p:txBody>
      </p:sp>
      <p:sp>
        <p:nvSpPr>
          <p:cNvPr id="18" name="Agenda 1">
            <a:extLst>
              <a:ext uri="{FF2B5EF4-FFF2-40B4-BE49-F238E27FC236}">
                <a16:creationId xmlns:a16="http://schemas.microsoft.com/office/drawing/2014/main" id="{559C1B5B-F924-244C-9E13-C42010B42D00}"/>
              </a:ext>
            </a:extLst>
          </p:cNvPr>
          <p:cNvSpPr>
            <a:spLocks noGrp="1"/>
          </p:cNvSpPr>
          <p:nvPr>
            <p:ph type="body" sz="quarter" idx="19" hasCustomPrompt="1"/>
          </p:nvPr>
        </p:nvSpPr>
        <p:spPr>
          <a:xfrm>
            <a:off x="4545096" y="2146826"/>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3</a:t>
            </a:r>
          </a:p>
        </p:txBody>
      </p:sp>
      <p:sp>
        <p:nvSpPr>
          <p:cNvPr id="19" name="01">
            <a:extLst>
              <a:ext uri="{FF2B5EF4-FFF2-40B4-BE49-F238E27FC236}">
                <a16:creationId xmlns:a16="http://schemas.microsoft.com/office/drawing/2014/main" id="{8E2B09F4-F3DA-CF46-9978-FEB40C9C7062}"/>
              </a:ext>
            </a:extLst>
          </p:cNvPr>
          <p:cNvSpPr>
            <a:spLocks noGrp="1" noChangeAspect="1"/>
          </p:cNvSpPr>
          <p:nvPr>
            <p:ph type="body" sz="quarter" idx="20" hasCustomPrompt="1"/>
          </p:nvPr>
        </p:nvSpPr>
        <p:spPr>
          <a:xfrm>
            <a:off x="3866442" y="2846943"/>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4</a:t>
            </a:r>
          </a:p>
        </p:txBody>
      </p:sp>
      <p:sp>
        <p:nvSpPr>
          <p:cNvPr id="20" name="Agenda 1">
            <a:extLst>
              <a:ext uri="{FF2B5EF4-FFF2-40B4-BE49-F238E27FC236}">
                <a16:creationId xmlns:a16="http://schemas.microsoft.com/office/drawing/2014/main" id="{A0A68385-5CB4-6F4C-8EFA-0C0D9E1B79ED}"/>
              </a:ext>
            </a:extLst>
          </p:cNvPr>
          <p:cNvSpPr>
            <a:spLocks noGrp="1"/>
          </p:cNvSpPr>
          <p:nvPr>
            <p:ph type="body" sz="quarter" idx="21" hasCustomPrompt="1"/>
          </p:nvPr>
        </p:nvSpPr>
        <p:spPr>
          <a:xfrm>
            <a:off x="4545096" y="2911240"/>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4</a:t>
            </a:r>
          </a:p>
        </p:txBody>
      </p:sp>
      <p:sp>
        <p:nvSpPr>
          <p:cNvPr id="21" name="01">
            <a:extLst>
              <a:ext uri="{FF2B5EF4-FFF2-40B4-BE49-F238E27FC236}">
                <a16:creationId xmlns:a16="http://schemas.microsoft.com/office/drawing/2014/main" id="{AA84844C-A1F7-E145-95B5-896706B91DFD}"/>
              </a:ext>
            </a:extLst>
          </p:cNvPr>
          <p:cNvSpPr>
            <a:spLocks noGrp="1" noChangeAspect="1"/>
          </p:cNvSpPr>
          <p:nvPr>
            <p:ph type="body" sz="quarter" idx="22" hasCustomPrompt="1"/>
          </p:nvPr>
        </p:nvSpPr>
        <p:spPr>
          <a:xfrm>
            <a:off x="3866442" y="3611357"/>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5</a:t>
            </a:r>
          </a:p>
        </p:txBody>
      </p:sp>
      <p:sp>
        <p:nvSpPr>
          <p:cNvPr id="22" name="Agenda 1">
            <a:extLst>
              <a:ext uri="{FF2B5EF4-FFF2-40B4-BE49-F238E27FC236}">
                <a16:creationId xmlns:a16="http://schemas.microsoft.com/office/drawing/2014/main" id="{A36350AB-F8D0-7B46-99D1-0B75F21D9286}"/>
              </a:ext>
            </a:extLst>
          </p:cNvPr>
          <p:cNvSpPr>
            <a:spLocks noGrp="1"/>
          </p:cNvSpPr>
          <p:nvPr>
            <p:ph type="body" sz="quarter" idx="23" hasCustomPrompt="1"/>
          </p:nvPr>
        </p:nvSpPr>
        <p:spPr>
          <a:xfrm>
            <a:off x="4545096" y="3675654"/>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5</a:t>
            </a:r>
          </a:p>
        </p:txBody>
      </p:sp>
      <p:sp>
        <p:nvSpPr>
          <p:cNvPr id="23" name="01">
            <a:extLst>
              <a:ext uri="{FF2B5EF4-FFF2-40B4-BE49-F238E27FC236}">
                <a16:creationId xmlns:a16="http://schemas.microsoft.com/office/drawing/2014/main" id="{2DD3EB51-23D7-5846-9B38-928002C32551}"/>
              </a:ext>
            </a:extLst>
          </p:cNvPr>
          <p:cNvSpPr>
            <a:spLocks noGrp="1" noChangeAspect="1"/>
          </p:cNvSpPr>
          <p:nvPr>
            <p:ph type="body" sz="quarter" idx="24" hasCustomPrompt="1"/>
          </p:nvPr>
        </p:nvSpPr>
        <p:spPr>
          <a:xfrm>
            <a:off x="3866442" y="4375771"/>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6</a:t>
            </a:r>
          </a:p>
        </p:txBody>
      </p:sp>
      <p:sp>
        <p:nvSpPr>
          <p:cNvPr id="24" name="Agenda 1">
            <a:extLst>
              <a:ext uri="{FF2B5EF4-FFF2-40B4-BE49-F238E27FC236}">
                <a16:creationId xmlns:a16="http://schemas.microsoft.com/office/drawing/2014/main" id="{00B9C5EB-8FE8-2B48-8B20-30AF9B96C755}"/>
              </a:ext>
            </a:extLst>
          </p:cNvPr>
          <p:cNvSpPr>
            <a:spLocks noGrp="1"/>
          </p:cNvSpPr>
          <p:nvPr>
            <p:ph type="body" sz="quarter" idx="25" hasCustomPrompt="1"/>
          </p:nvPr>
        </p:nvSpPr>
        <p:spPr>
          <a:xfrm>
            <a:off x="4545096" y="4440068"/>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6</a:t>
            </a:r>
          </a:p>
        </p:txBody>
      </p:sp>
      <p:sp>
        <p:nvSpPr>
          <p:cNvPr id="25" name="01">
            <a:extLst>
              <a:ext uri="{FF2B5EF4-FFF2-40B4-BE49-F238E27FC236}">
                <a16:creationId xmlns:a16="http://schemas.microsoft.com/office/drawing/2014/main" id="{EB01C425-A69F-3446-B781-72CFDB9113BD}"/>
              </a:ext>
            </a:extLst>
          </p:cNvPr>
          <p:cNvSpPr>
            <a:spLocks noGrp="1" noChangeAspect="1"/>
          </p:cNvSpPr>
          <p:nvPr>
            <p:ph type="body" sz="quarter" idx="26" hasCustomPrompt="1"/>
          </p:nvPr>
        </p:nvSpPr>
        <p:spPr>
          <a:xfrm>
            <a:off x="3876267" y="5140185"/>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7</a:t>
            </a:r>
          </a:p>
        </p:txBody>
      </p:sp>
      <p:sp>
        <p:nvSpPr>
          <p:cNvPr id="26" name="Agenda 1">
            <a:extLst>
              <a:ext uri="{FF2B5EF4-FFF2-40B4-BE49-F238E27FC236}">
                <a16:creationId xmlns:a16="http://schemas.microsoft.com/office/drawing/2014/main" id="{34144679-175C-2C48-AAA4-69E3F983F0DA}"/>
              </a:ext>
            </a:extLst>
          </p:cNvPr>
          <p:cNvSpPr>
            <a:spLocks noGrp="1"/>
          </p:cNvSpPr>
          <p:nvPr>
            <p:ph type="body" sz="quarter" idx="27" hasCustomPrompt="1"/>
          </p:nvPr>
        </p:nvSpPr>
        <p:spPr>
          <a:xfrm>
            <a:off x="4554921" y="5204482"/>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7</a:t>
            </a:r>
          </a:p>
        </p:txBody>
      </p:sp>
      <p:sp>
        <p:nvSpPr>
          <p:cNvPr id="27" name="01">
            <a:extLst>
              <a:ext uri="{FF2B5EF4-FFF2-40B4-BE49-F238E27FC236}">
                <a16:creationId xmlns:a16="http://schemas.microsoft.com/office/drawing/2014/main" id="{7F24D7C0-48C1-5F4C-A135-FA59A7B01CCE}"/>
              </a:ext>
            </a:extLst>
          </p:cNvPr>
          <p:cNvSpPr>
            <a:spLocks noGrp="1" noChangeAspect="1"/>
          </p:cNvSpPr>
          <p:nvPr>
            <p:ph type="body" sz="quarter" idx="28" hasCustomPrompt="1"/>
          </p:nvPr>
        </p:nvSpPr>
        <p:spPr>
          <a:xfrm>
            <a:off x="3866442" y="5834961"/>
            <a:ext cx="396000" cy="410158"/>
          </a:xfrm>
          <a:custGeom>
            <a:avLst/>
            <a:gdLst>
              <a:gd name="connsiteX0" fmla="*/ 0 w 360000"/>
              <a:gd name="connsiteY0" fmla="*/ 180000 h 360000"/>
              <a:gd name="connsiteX1" fmla="*/ 180000 w 360000"/>
              <a:gd name="connsiteY1" fmla="*/ 0 h 360000"/>
              <a:gd name="connsiteX2" fmla="*/ 360000 w 360000"/>
              <a:gd name="connsiteY2" fmla="*/ 180000 h 360000"/>
              <a:gd name="connsiteX3" fmla="*/ 180000 w 360000"/>
              <a:gd name="connsiteY3" fmla="*/ 360000 h 360000"/>
              <a:gd name="connsiteX4" fmla="*/ 0 w 360000"/>
              <a:gd name="connsiteY4" fmla="*/ 180000 h 360000"/>
              <a:gd name="connsiteX0" fmla="*/ 0 w 360000"/>
              <a:gd name="connsiteY0" fmla="*/ 184152 h 364152"/>
              <a:gd name="connsiteX1" fmla="*/ 180000 w 360000"/>
              <a:gd name="connsiteY1" fmla="*/ 4152 h 364152"/>
              <a:gd name="connsiteX2" fmla="*/ 360000 w 360000"/>
              <a:gd name="connsiteY2" fmla="*/ 184152 h 364152"/>
              <a:gd name="connsiteX3" fmla="*/ 180000 w 360000"/>
              <a:gd name="connsiteY3" fmla="*/ 364152 h 364152"/>
              <a:gd name="connsiteX4" fmla="*/ 0 w 360000"/>
              <a:gd name="connsiteY4" fmla="*/ 184152 h 364152"/>
              <a:gd name="connsiteX0" fmla="*/ 0 w 360000"/>
              <a:gd name="connsiteY0" fmla="*/ 184152 h 372871"/>
              <a:gd name="connsiteX1" fmla="*/ 180000 w 360000"/>
              <a:gd name="connsiteY1" fmla="*/ 4152 h 372871"/>
              <a:gd name="connsiteX2" fmla="*/ 360000 w 360000"/>
              <a:gd name="connsiteY2" fmla="*/ 184152 h 372871"/>
              <a:gd name="connsiteX3" fmla="*/ 180000 w 360000"/>
              <a:gd name="connsiteY3" fmla="*/ 364152 h 372871"/>
              <a:gd name="connsiteX4" fmla="*/ 0 w 360000"/>
              <a:gd name="connsiteY4" fmla="*/ 184152 h 37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 h="372871">
                <a:moveTo>
                  <a:pt x="0" y="184152"/>
                </a:moveTo>
                <a:cubicBezTo>
                  <a:pt x="0" y="84741"/>
                  <a:pt x="69894" y="30889"/>
                  <a:pt x="180000" y="4152"/>
                </a:cubicBezTo>
                <a:cubicBezTo>
                  <a:pt x="290106" y="-22585"/>
                  <a:pt x="360000" y="84741"/>
                  <a:pt x="360000" y="184152"/>
                </a:cubicBezTo>
                <a:cubicBezTo>
                  <a:pt x="360000" y="283563"/>
                  <a:pt x="290106" y="406931"/>
                  <a:pt x="180000" y="364152"/>
                </a:cubicBezTo>
                <a:cubicBezTo>
                  <a:pt x="69894" y="321373"/>
                  <a:pt x="0" y="283563"/>
                  <a:pt x="0" y="184152"/>
                </a:cubicBezTo>
                <a:close/>
              </a:path>
            </a:pathLst>
          </a:custGeom>
          <a:solidFill>
            <a:schemeClr val="bg1"/>
          </a:solidFill>
        </p:spPr>
        <p:txBody>
          <a:bodyPr wrap="square" anchor="ctr">
            <a:noAutofit/>
          </a:bodyPr>
          <a:lstStyle>
            <a:lvl1pPr marL="0" indent="0" algn="ctr">
              <a:lnSpc>
                <a:spcPct val="100000"/>
              </a:lnSpc>
              <a:buClr>
                <a:schemeClr val="accent1"/>
              </a:buClr>
              <a:buFont typeface="Arial Unicode MS" panose="020B0604020202020204" pitchFamily="34" charset="-128"/>
              <a:buNone/>
              <a:defRPr sz="1800" b="1">
                <a:solidFill>
                  <a:schemeClr val="bg2"/>
                </a:solidFill>
              </a:defRPr>
            </a:lvl1pPr>
          </a:lstStyle>
          <a:p>
            <a:pPr lvl="0"/>
            <a:r>
              <a:rPr lang="en-US"/>
              <a:t>8</a:t>
            </a:r>
          </a:p>
        </p:txBody>
      </p:sp>
      <p:sp>
        <p:nvSpPr>
          <p:cNvPr id="28" name="Agenda 1">
            <a:extLst>
              <a:ext uri="{FF2B5EF4-FFF2-40B4-BE49-F238E27FC236}">
                <a16:creationId xmlns:a16="http://schemas.microsoft.com/office/drawing/2014/main" id="{34EBB330-3267-3E4B-B6F2-57392ACB4C52}"/>
              </a:ext>
            </a:extLst>
          </p:cNvPr>
          <p:cNvSpPr>
            <a:spLocks noGrp="1"/>
          </p:cNvSpPr>
          <p:nvPr>
            <p:ph type="body" sz="quarter" idx="29" hasCustomPrompt="1"/>
          </p:nvPr>
        </p:nvSpPr>
        <p:spPr>
          <a:xfrm>
            <a:off x="4545096" y="5899258"/>
            <a:ext cx="5581650" cy="276999"/>
          </a:xfrm>
        </p:spPr>
        <p:txBody>
          <a:bodyPr anchor="ctr">
            <a:noAutofit/>
          </a:bodyPr>
          <a:lstStyle>
            <a:lvl1pPr>
              <a:lnSpc>
                <a:spcPct val="90000"/>
              </a:lnSpc>
              <a:spcAft>
                <a:spcPts val="0"/>
              </a:spcAft>
              <a:defRPr sz="2000" cap="none" baseline="0">
                <a:solidFill>
                  <a:schemeClr val="bg1"/>
                </a:solidFill>
              </a:defRPr>
            </a:lvl1pPr>
          </a:lstStyle>
          <a:p>
            <a:pPr lvl="0"/>
            <a:r>
              <a:rPr lang="en-US"/>
              <a:t>Agenda 8</a:t>
            </a:r>
          </a:p>
        </p:txBody>
      </p:sp>
    </p:spTree>
    <p:extLst>
      <p:ext uri="{BB962C8B-B14F-4D97-AF65-F5344CB8AC3E}">
        <p14:creationId xmlns:p14="http://schemas.microsoft.com/office/powerpoint/2010/main" val="32357717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sp>
        <p:nvSpPr>
          <p:cNvPr id="13" name="Espace réservé du texte 5"/>
          <p:cNvSpPr>
            <a:spLocks noGrp="1"/>
          </p:cNvSpPr>
          <p:nvPr>
            <p:ph type="body" sz="quarter" idx="13"/>
          </p:nvPr>
        </p:nvSpPr>
        <p:spPr>
          <a:xfrm>
            <a:off x="215900" y="1096921"/>
            <a:ext cx="11760200" cy="474728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4" name="Imag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5362" y="5995579"/>
            <a:ext cx="1167497" cy="625803"/>
          </a:xfrm>
          <a:prstGeom prst="rect">
            <a:avLst/>
          </a:prstGeom>
        </p:spPr>
      </p:pic>
      <p:sp>
        <p:nvSpPr>
          <p:cNvPr id="15" name="Titre 1"/>
          <p:cNvSpPr>
            <a:spLocks noGrp="1"/>
          </p:cNvSpPr>
          <p:nvPr>
            <p:ph type="title"/>
          </p:nvPr>
        </p:nvSpPr>
        <p:spPr>
          <a:xfrm>
            <a:off x="215900" y="206099"/>
            <a:ext cx="11760200" cy="668545"/>
          </a:xfrm>
          <a:prstGeom prst="rect">
            <a:avLst/>
          </a:prstGeom>
        </p:spPr>
        <p:txBody>
          <a:bodyPr/>
          <a:lstStyle>
            <a:lvl1pPr>
              <a:defRPr>
                <a:solidFill>
                  <a:srgbClr val="0083CB"/>
                </a:solidFill>
              </a:defRPr>
            </a:lvl1pPr>
          </a:lstStyle>
          <a:p>
            <a:r>
              <a:rPr lang="fr-FR"/>
              <a:t>Modifiez le style du titre</a:t>
            </a:r>
          </a:p>
        </p:txBody>
      </p:sp>
    </p:spTree>
    <p:extLst>
      <p:ext uri="{BB962C8B-B14F-4D97-AF65-F5344CB8AC3E}">
        <p14:creationId xmlns:p14="http://schemas.microsoft.com/office/powerpoint/2010/main" val="42221377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tx2"/>
        </a:solidFill>
        <a:effectLst/>
      </p:bgPr>
    </p:bg>
    <p:spTree>
      <p:nvGrpSpPr>
        <p:cNvPr id="1" name=""/>
        <p:cNvGrpSpPr/>
        <p:nvPr/>
      </p:nvGrpSpPr>
      <p:grpSpPr>
        <a:xfrm>
          <a:off x="0" y="0"/>
          <a:ext cx="0" cy="0"/>
          <a:chOff x="0" y="0"/>
          <a:chExt cx="0" cy="0"/>
        </a:xfrm>
      </p:grpSpPr>
      <p:sp>
        <p:nvSpPr>
          <p:cNvPr id="8" name="Oval 6">
            <a:extLst>
              <a:ext uri="{FF2B5EF4-FFF2-40B4-BE49-F238E27FC236}">
                <a16:creationId xmlns:a16="http://schemas.microsoft.com/office/drawing/2014/main" id="{D78BED76-6AB0-1D43-8D7D-A818ABFB7B71}"/>
              </a:ext>
            </a:extLst>
          </p:cNvPr>
          <p:cNvSpPr/>
          <p:nvPr userDrawn="1"/>
        </p:nvSpPr>
        <p:spPr>
          <a:xfrm>
            <a:off x="2274362" y="351872"/>
            <a:ext cx="7643277" cy="6154257"/>
          </a:xfrm>
          <a:custGeom>
            <a:avLst/>
            <a:gdLst>
              <a:gd name="connsiteX0" fmla="*/ 0 w 8439532"/>
              <a:gd name="connsiteY0" fmla="*/ 3429001 h 6858001"/>
              <a:gd name="connsiteX1" fmla="*/ 4219766 w 8439532"/>
              <a:gd name="connsiteY1" fmla="*/ 0 h 6858001"/>
              <a:gd name="connsiteX2" fmla="*/ 8439532 w 8439532"/>
              <a:gd name="connsiteY2" fmla="*/ 3429001 h 6858001"/>
              <a:gd name="connsiteX3" fmla="*/ 4219766 w 8439532"/>
              <a:gd name="connsiteY3" fmla="*/ 6858002 h 6858001"/>
              <a:gd name="connsiteX4" fmla="*/ 0 w 8439532"/>
              <a:gd name="connsiteY4" fmla="*/ 3429001 h 6858001"/>
              <a:gd name="connsiteX0" fmla="*/ 0 w 8501526"/>
              <a:gd name="connsiteY0" fmla="*/ 2937326 h 6865307"/>
              <a:gd name="connsiteX1" fmla="*/ 4281760 w 8501526"/>
              <a:gd name="connsiteY1" fmla="*/ 4271 h 6865307"/>
              <a:gd name="connsiteX2" fmla="*/ 8501526 w 8501526"/>
              <a:gd name="connsiteY2" fmla="*/ 3433272 h 6865307"/>
              <a:gd name="connsiteX3" fmla="*/ 4281760 w 8501526"/>
              <a:gd name="connsiteY3" fmla="*/ 6862273 h 6865307"/>
              <a:gd name="connsiteX4" fmla="*/ 0 w 8501526"/>
              <a:gd name="connsiteY4" fmla="*/ 2937326 h 6865307"/>
              <a:gd name="connsiteX0" fmla="*/ 66913 w 8568439"/>
              <a:gd name="connsiteY0" fmla="*/ 2946839 h 6874820"/>
              <a:gd name="connsiteX1" fmla="*/ 4348673 w 8568439"/>
              <a:gd name="connsiteY1" fmla="*/ 13784 h 6874820"/>
              <a:gd name="connsiteX2" fmla="*/ 8568439 w 8568439"/>
              <a:gd name="connsiteY2" fmla="*/ 3442785 h 6874820"/>
              <a:gd name="connsiteX3" fmla="*/ 4348673 w 8568439"/>
              <a:gd name="connsiteY3" fmla="*/ 6871786 h 6874820"/>
              <a:gd name="connsiteX4" fmla="*/ 66913 w 8568439"/>
              <a:gd name="connsiteY4" fmla="*/ 2946839 h 6874820"/>
              <a:gd name="connsiteX0" fmla="*/ 66913 w 8568439"/>
              <a:gd name="connsiteY0" fmla="*/ 2960886 h 6888867"/>
              <a:gd name="connsiteX1" fmla="*/ 4348673 w 8568439"/>
              <a:gd name="connsiteY1" fmla="*/ 27831 h 6888867"/>
              <a:gd name="connsiteX2" fmla="*/ 8568439 w 8568439"/>
              <a:gd name="connsiteY2" fmla="*/ 3456832 h 6888867"/>
              <a:gd name="connsiteX3" fmla="*/ 4348673 w 8568439"/>
              <a:gd name="connsiteY3" fmla="*/ 6885833 h 6888867"/>
              <a:gd name="connsiteX4" fmla="*/ 66913 w 8568439"/>
              <a:gd name="connsiteY4" fmla="*/ 2960886 h 6888867"/>
              <a:gd name="connsiteX0" fmla="*/ 66913 w 8568439"/>
              <a:gd name="connsiteY0" fmla="*/ 2960886 h 6897687"/>
              <a:gd name="connsiteX1" fmla="*/ 4348673 w 8568439"/>
              <a:gd name="connsiteY1" fmla="*/ 27831 h 6897687"/>
              <a:gd name="connsiteX2" fmla="*/ 8568439 w 8568439"/>
              <a:gd name="connsiteY2" fmla="*/ 3456832 h 6897687"/>
              <a:gd name="connsiteX3" fmla="*/ 4348673 w 8568439"/>
              <a:gd name="connsiteY3" fmla="*/ 6885833 h 6897687"/>
              <a:gd name="connsiteX4" fmla="*/ 66913 w 8568439"/>
              <a:gd name="connsiteY4" fmla="*/ 2960886 h 6897687"/>
              <a:gd name="connsiteX0" fmla="*/ 66913 w 8568439"/>
              <a:gd name="connsiteY0" fmla="*/ 3001233 h 6938034"/>
              <a:gd name="connsiteX1" fmla="*/ 4348673 w 8568439"/>
              <a:gd name="connsiteY1" fmla="*/ 68178 h 6938034"/>
              <a:gd name="connsiteX2" fmla="*/ 8568439 w 8568439"/>
              <a:gd name="connsiteY2" fmla="*/ 3497179 h 6938034"/>
              <a:gd name="connsiteX3" fmla="*/ 4348673 w 8568439"/>
              <a:gd name="connsiteY3" fmla="*/ 6926180 h 6938034"/>
              <a:gd name="connsiteX4" fmla="*/ 66913 w 8568439"/>
              <a:gd name="connsiteY4" fmla="*/ 3001233 h 6938034"/>
              <a:gd name="connsiteX0" fmla="*/ 66913 w 8568439"/>
              <a:gd name="connsiteY0" fmla="*/ 2963805 h 6900606"/>
              <a:gd name="connsiteX1" fmla="*/ 4348673 w 8568439"/>
              <a:gd name="connsiteY1" fmla="*/ 30750 h 6900606"/>
              <a:gd name="connsiteX2" fmla="*/ 8568439 w 8568439"/>
              <a:gd name="connsiteY2" fmla="*/ 3459751 h 6900606"/>
              <a:gd name="connsiteX3" fmla="*/ 4348673 w 8568439"/>
              <a:gd name="connsiteY3" fmla="*/ 6888752 h 6900606"/>
              <a:gd name="connsiteX4" fmla="*/ 66913 w 8568439"/>
              <a:gd name="connsiteY4" fmla="*/ 2963805 h 6900606"/>
              <a:gd name="connsiteX0" fmla="*/ 66913 w 8568439"/>
              <a:gd name="connsiteY0" fmla="*/ 3218823 h 7155624"/>
              <a:gd name="connsiteX1" fmla="*/ 4348673 w 8568439"/>
              <a:gd name="connsiteY1" fmla="*/ 285768 h 7155624"/>
              <a:gd name="connsiteX2" fmla="*/ 8568439 w 8568439"/>
              <a:gd name="connsiteY2" fmla="*/ 3714769 h 7155624"/>
              <a:gd name="connsiteX3" fmla="*/ 4348673 w 8568439"/>
              <a:gd name="connsiteY3" fmla="*/ 7143770 h 7155624"/>
              <a:gd name="connsiteX4" fmla="*/ 66913 w 8568439"/>
              <a:gd name="connsiteY4" fmla="*/ 3218823 h 7155624"/>
              <a:gd name="connsiteX0" fmla="*/ 9467 w 8510993"/>
              <a:gd name="connsiteY0" fmla="*/ 3218823 h 7155624"/>
              <a:gd name="connsiteX1" fmla="*/ 4291227 w 8510993"/>
              <a:gd name="connsiteY1" fmla="*/ 285768 h 7155624"/>
              <a:gd name="connsiteX2" fmla="*/ 8510993 w 8510993"/>
              <a:gd name="connsiteY2" fmla="*/ 3714769 h 7155624"/>
              <a:gd name="connsiteX3" fmla="*/ 4291227 w 8510993"/>
              <a:gd name="connsiteY3" fmla="*/ 7143770 h 7155624"/>
              <a:gd name="connsiteX4" fmla="*/ 9467 w 8510993"/>
              <a:gd name="connsiteY4" fmla="*/ 3218823 h 7155624"/>
              <a:gd name="connsiteX0" fmla="*/ 9467 w 8510993"/>
              <a:gd name="connsiteY0" fmla="*/ 2994935 h 6931736"/>
              <a:gd name="connsiteX1" fmla="*/ 4291227 w 8510993"/>
              <a:gd name="connsiteY1" fmla="*/ 61880 h 6931736"/>
              <a:gd name="connsiteX2" fmla="*/ 8510993 w 8510993"/>
              <a:gd name="connsiteY2" fmla="*/ 3490881 h 6931736"/>
              <a:gd name="connsiteX3" fmla="*/ 4291227 w 8510993"/>
              <a:gd name="connsiteY3" fmla="*/ 6919882 h 6931736"/>
              <a:gd name="connsiteX4" fmla="*/ 9467 w 8510993"/>
              <a:gd name="connsiteY4" fmla="*/ 2994935 h 6931736"/>
              <a:gd name="connsiteX0" fmla="*/ 22 w 8501548"/>
              <a:gd name="connsiteY0" fmla="*/ 3713711 h 7650512"/>
              <a:gd name="connsiteX1" fmla="*/ 4336373 w 8501548"/>
              <a:gd name="connsiteY1" fmla="*/ 5 h 7650512"/>
              <a:gd name="connsiteX2" fmla="*/ 8501548 w 8501548"/>
              <a:gd name="connsiteY2" fmla="*/ 4209657 h 7650512"/>
              <a:gd name="connsiteX3" fmla="*/ 4281782 w 8501548"/>
              <a:gd name="connsiteY3" fmla="*/ 7638658 h 7650512"/>
              <a:gd name="connsiteX4" fmla="*/ 22 w 8501548"/>
              <a:gd name="connsiteY4" fmla="*/ 3713711 h 7650512"/>
              <a:gd name="connsiteX0" fmla="*/ 22 w 8501548"/>
              <a:gd name="connsiteY0" fmla="*/ 3714948 h 7651749"/>
              <a:gd name="connsiteX1" fmla="*/ 4336373 w 8501548"/>
              <a:gd name="connsiteY1" fmla="*/ 1242 h 7651749"/>
              <a:gd name="connsiteX2" fmla="*/ 8501548 w 8501548"/>
              <a:gd name="connsiteY2" fmla="*/ 4210894 h 7651749"/>
              <a:gd name="connsiteX3" fmla="*/ 4281782 w 8501548"/>
              <a:gd name="connsiteY3" fmla="*/ 7639895 h 7651749"/>
              <a:gd name="connsiteX4" fmla="*/ 22 w 8501548"/>
              <a:gd name="connsiteY4" fmla="*/ 3714948 h 7651749"/>
              <a:gd name="connsiteX0" fmla="*/ 55227 w 8556753"/>
              <a:gd name="connsiteY0" fmla="*/ 3714948 h 7651749"/>
              <a:gd name="connsiteX1" fmla="*/ 4391578 w 8556753"/>
              <a:gd name="connsiteY1" fmla="*/ 1242 h 7651749"/>
              <a:gd name="connsiteX2" fmla="*/ 8556753 w 8556753"/>
              <a:gd name="connsiteY2" fmla="*/ 4210894 h 7651749"/>
              <a:gd name="connsiteX3" fmla="*/ 4336987 w 8556753"/>
              <a:gd name="connsiteY3" fmla="*/ 7639895 h 7651749"/>
              <a:gd name="connsiteX4" fmla="*/ 55227 w 8556753"/>
              <a:gd name="connsiteY4" fmla="*/ 3714948 h 7651749"/>
              <a:gd name="connsiteX0" fmla="*/ 213729 w 8715255"/>
              <a:gd name="connsiteY0" fmla="*/ 3714948 h 7651749"/>
              <a:gd name="connsiteX1" fmla="*/ 4550080 w 8715255"/>
              <a:gd name="connsiteY1" fmla="*/ 1242 h 7651749"/>
              <a:gd name="connsiteX2" fmla="*/ 8715255 w 8715255"/>
              <a:gd name="connsiteY2" fmla="*/ 4210894 h 7651749"/>
              <a:gd name="connsiteX3" fmla="*/ 4495489 w 8715255"/>
              <a:gd name="connsiteY3" fmla="*/ 7639895 h 7651749"/>
              <a:gd name="connsiteX4" fmla="*/ 213729 w 8715255"/>
              <a:gd name="connsiteY4" fmla="*/ 3714948 h 7651749"/>
              <a:gd name="connsiteX0" fmla="*/ 637 w 8502163"/>
              <a:gd name="connsiteY0" fmla="*/ 3714948 h 7651749"/>
              <a:gd name="connsiteX1" fmla="*/ 4336988 w 8502163"/>
              <a:gd name="connsiteY1" fmla="*/ 1242 h 7651749"/>
              <a:gd name="connsiteX2" fmla="*/ 8502163 w 8502163"/>
              <a:gd name="connsiteY2" fmla="*/ 4210894 h 7651749"/>
              <a:gd name="connsiteX3" fmla="*/ 4282397 w 8502163"/>
              <a:gd name="connsiteY3" fmla="*/ 7639895 h 7651749"/>
              <a:gd name="connsiteX4" fmla="*/ 637 w 8502163"/>
              <a:gd name="connsiteY4" fmla="*/ 3714948 h 7651749"/>
              <a:gd name="connsiteX0" fmla="*/ 637 w 8502396"/>
              <a:gd name="connsiteY0" fmla="*/ 3714948 h 7656255"/>
              <a:gd name="connsiteX1" fmla="*/ 4336988 w 8502396"/>
              <a:gd name="connsiteY1" fmla="*/ 1242 h 7656255"/>
              <a:gd name="connsiteX2" fmla="*/ 8502163 w 8502396"/>
              <a:gd name="connsiteY2" fmla="*/ 4210894 h 7656255"/>
              <a:gd name="connsiteX3" fmla="*/ 4282397 w 8502396"/>
              <a:gd name="connsiteY3" fmla="*/ 7639895 h 7656255"/>
              <a:gd name="connsiteX4" fmla="*/ 637 w 8502396"/>
              <a:gd name="connsiteY4" fmla="*/ 3714948 h 7656255"/>
              <a:gd name="connsiteX0" fmla="*/ 637 w 8508622"/>
              <a:gd name="connsiteY0" fmla="*/ 3713797 h 7650961"/>
              <a:gd name="connsiteX1" fmla="*/ 4336988 w 8508622"/>
              <a:gd name="connsiteY1" fmla="*/ 91 h 7650961"/>
              <a:gd name="connsiteX2" fmla="*/ 8502163 w 8508622"/>
              <a:gd name="connsiteY2" fmla="*/ 4209743 h 7650961"/>
              <a:gd name="connsiteX3" fmla="*/ 4282397 w 8508622"/>
              <a:gd name="connsiteY3" fmla="*/ 7638744 h 7650961"/>
              <a:gd name="connsiteX4" fmla="*/ 637 w 8508622"/>
              <a:gd name="connsiteY4" fmla="*/ 3713797 h 7650961"/>
              <a:gd name="connsiteX0" fmla="*/ 637 w 8553906"/>
              <a:gd name="connsiteY0" fmla="*/ 3713786 h 7648432"/>
              <a:gd name="connsiteX1" fmla="*/ 4336988 w 8553906"/>
              <a:gd name="connsiteY1" fmla="*/ 80 h 7648432"/>
              <a:gd name="connsiteX2" fmla="*/ 8502163 w 8553906"/>
              <a:gd name="connsiteY2" fmla="*/ 4209732 h 7648432"/>
              <a:gd name="connsiteX3" fmla="*/ 4282397 w 8553906"/>
              <a:gd name="connsiteY3" fmla="*/ 7638733 h 7648432"/>
              <a:gd name="connsiteX4" fmla="*/ 637 w 8553906"/>
              <a:gd name="connsiteY4" fmla="*/ 3713786 h 7648432"/>
              <a:gd name="connsiteX0" fmla="*/ 637 w 8553906"/>
              <a:gd name="connsiteY0" fmla="*/ 3713786 h 7777034"/>
              <a:gd name="connsiteX1" fmla="*/ 4336988 w 8553906"/>
              <a:gd name="connsiteY1" fmla="*/ 80 h 7777034"/>
              <a:gd name="connsiteX2" fmla="*/ 8502163 w 8553906"/>
              <a:gd name="connsiteY2" fmla="*/ 4209732 h 7777034"/>
              <a:gd name="connsiteX3" fmla="*/ 4282397 w 8553906"/>
              <a:gd name="connsiteY3" fmla="*/ 7638733 h 7777034"/>
              <a:gd name="connsiteX4" fmla="*/ 637 w 8553906"/>
              <a:gd name="connsiteY4" fmla="*/ 3713786 h 7777034"/>
              <a:gd name="connsiteX0" fmla="*/ 642 w 8553911"/>
              <a:gd name="connsiteY0" fmla="*/ 3713786 h 7767033"/>
              <a:gd name="connsiteX1" fmla="*/ 4336993 w 8553911"/>
              <a:gd name="connsiteY1" fmla="*/ 80 h 7767033"/>
              <a:gd name="connsiteX2" fmla="*/ 8502168 w 8553911"/>
              <a:gd name="connsiteY2" fmla="*/ 4209732 h 7767033"/>
              <a:gd name="connsiteX3" fmla="*/ 4282402 w 8553911"/>
              <a:gd name="connsiteY3" fmla="*/ 7638733 h 7767033"/>
              <a:gd name="connsiteX4" fmla="*/ 642 w 8553911"/>
              <a:gd name="connsiteY4" fmla="*/ 3713786 h 77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911" h="7767033">
                <a:moveTo>
                  <a:pt x="642" y="3713786"/>
                </a:moveTo>
                <a:cubicBezTo>
                  <a:pt x="50684" y="428995"/>
                  <a:pt x="2311476" y="10946"/>
                  <a:pt x="4336993" y="80"/>
                </a:cubicBezTo>
                <a:cubicBezTo>
                  <a:pt x="6362510" y="-10786"/>
                  <a:pt x="8953238" y="1086144"/>
                  <a:pt x="8502168" y="4209732"/>
                </a:cubicBezTo>
                <a:cubicBezTo>
                  <a:pt x="8051098" y="7333320"/>
                  <a:pt x="5726619" y="7090865"/>
                  <a:pt x="4282402" y="7638733"/>
                </a:cubicBezTo>
                <a:cubicBezTo>
                  <a:pt x="2838185" y="8186601"/>
                  <a:pt x="-49400" y="6998577"/>
                  <a:pt x="642" y="3713786"/>
                </a:cubicBezTo>
                <a:close/>
              </a:path>
            </a:pathLst>
          </a:custGeom>
          <a:solidFill>
            <a:schemeClr val="bg1"/>
          </a:solidFill>
          <a:ln>
            <a:noFill/>
          </a:ln>
          <a:effectLst>
            <a:outerShdw blurRad="190500" dist="12700" algn="ctr" rotWithShape="0">
              <a:schemeClr val="tx2">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4E67645-9DC5-5F45-962F-2FAC509B1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pic>
        <p:nvPicPr>
          <p:cNvPr id="25" name="Picture 24">
            <a:extLst>
              <a:ext uri="{FF2B5EF4-FFF2-40B4-BE49-F238E27FC236}">
                <a16:creationId xmlns:a16="http://schemas.microsoft.com/office/drawing/2014/main" id="{1B95CEAB-2F79-9D49-93E7-33F937435D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5915" y="682214"/>
            <a:ext cx="3857500" cy="4684105"/>
          </a:xfrm>
          <a:prstGeom prst="rect">
            <a:avLst/>
          </a:prstGeom>
        </p:spPr>
      </p:pic>
      <p:sp>
        <p:nvSpPr>
          <p:cNvPr id="30" name="Text Placeholder 5">
            <a:extLst>
              <a:ext uri="{FF2B5EF4-FFF2-40B4-BE49-F238E27FC236}">
                <a16:creationId xmlns:a16="http://schemas.microsoft.com/office/drawing/2014/main" id="{34F4B5D4-5B2A-FE48-97D8-E87061C01736}"/>
              </a:ext>
            </a:extLst>
          </p:cNvPr>
          <p:cNvSpPr>
            <a:spLocks noGrp="1"/>
          </p:cNvSpPr>
          <p:nvPr>
            <p:ph type="body" sz="quarter" idx="10" hasCustomPrompt="1"/>
          </p:nvPr>
        </p:nvSpPr>
        <p:spPr>
          <a:xfrm>
            <a:off x="5072815" y="2633676"/>
            <a:ext cx="5603756" cy="3169421"/>
          </a:xfrm>
        </p:spPr>
        <p:txBody>
          <a:bodyPr anchor="t">
            <a:normAutofit/>
          </a:bodyPr>
          <a:lstStyle>
            <a:lvl1pPr algn="l">
              <a:defRPr sz="5400" b="1">
                <a:solidFill>
                  <a:schemeClr val="accent3"/>
                </a:solidFill>
              </a:defRPr>
            </a:lvl1pPr>
          </a:lstStyle>
          <a:p>
            <a:pPr lvl="0"/>
            <a:r>
              <a:rPr lang="en-US"/>
              <a:t>DIVIDER HEADLINE</a:t>
            </a:r>
          </a:p>
        </p:txBody>
      </p:sp>
      <p:sp>
        <p:nvSpPr>
          <p:cNvPr id="31" name="Text Placeholder 5">
            <a:extLst>
              <a:ext uri="{FF2B5EF4-FFF2-40B4-BE49-F238E27FC236}">
                <a16:creationId xmlns:a16="http://schemas.microsoft.com/office/drawing/2014/main" id="{5DCBB357-D6AA-1E48-9874-FE58BF551782}"/>
              </a:ext>
            </a:extLst>
          </p:cNvPr>
          <p:cNvSpPr>
            <a:spLocks noGrp="1"/>
          </p:cNvSpPr>
          <p:nvPr>
            <p:ph type="body" sz="quarter" idx="11" hasCustomPrompt="1"/>
          </p:nvPr>
        </p:nvSpPr>
        <p:spPr>
          <a:xfrm>
            <a:off x="5114380" y="1427580"/>
            <a:ext cx="4351867" cy="1335382"/>
          </a:xfrm>
        </p:spPr>
        <p:txBody>
          <a:bodyPr anchor="b">
            <a:noAutofit/>
          </a:bodyPr>
          <a:lstStyle>
            <a:lvl1pPr algn="l">
              <a:defRPr sz="2000" b="0" spc="300">
                <a:solidFill>
                  <a:schemeClr val="accent3"/>
                </a:solidFill>
              </a:defRPr>
            </a:lvl1pPr>
          </a:lstStyle>
          <a:p>
            <a:pPr lvl="0"/>
            <a:r>
              <a:rPr lang="en-US"/>
              <a:t>SUBHEADER</a:t>
            </a:r>
          </a:p>
        </p:txBody>
      </p:sp>
      <p:sp>
        <p:nvSpPr>
          <p:cNvPr id="33" name="Slide Number Placeholder 8">
            <a:extLst>
              <a:ext uri="{FF2B5EF4-FFF2-40B4-BE49-F238E27FC236}">
                <a16:creationId xmlns:a16="http://schemas.microsoft.com/office/drawing/2014/main" id="{26FB892B-FC29-CC4C-A11F-572190BF7040}"/>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26311270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image" Target="../media/image2.png"/><Relationship Id="rId21" Type="http://schemas.openxmlformats.org/officeDocument/2006/relationships/slideLayout" Target="../slideLayouts/slideLayout26.xml"/><Relationship Id="rId34" Type="http://schemas.openxmlformats.org/officeDocument/2006/relationships/slideLayout" Target="../slideLayouts/slideLayout39.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8" Type="http://schemas.openxmlformats.org/officeDocument/2006/relationships/slideLayout" Target="../slideLayouts/slideLayout13.xml"/><Relationship Id="rId3"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2.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theme" Target="../theme/theme3.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4.xml"/><Relationship Id="rId21" Type="http://schemas.openxmlformats.org/officeDocument/2006/relationships/oleObject" Target="../embeddings/oleObject2.bin"/><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78.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77.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42.png"/><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41.png"/><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2.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image" Target="../media/image40.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5" Type="http://schemas.openxmlformats.org/officeDocument/2006/relationships/image" Target="../media/image45.png"/><Relationship Id="rId4" Type="http://schemas.openxmlformats.org/officeDocument/2006/relationships/image" Target="../media/image4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42950" y="354279"/>
            <a:ext cx="4149725" cy="483234"/>
          </a:xfrm>
          <a:prstGeom prst="rect">
            <a:avLst/>
          </a:prstGeom>
        </p:spPr>
        <p:txBody>
          <a:bodyPr wrap="square" lIns="0" tIns="0" rIns="0" bIns="0">
            <a:spAutoFit/>
          </a:bodyPr>
          <a:lstStyle>
            <a:lvl1pPr>
              <a:defRPr sz="3000" b="1" i="0">
                <a:solidFill>
                  <a:srgbClr val="252160"/>
                </a:solidFill>
                <a:latin typeface="Segoe UI"/>
                <a:cs typeface="Segoe UI"/>
              </a:defRPr>
            </a:lvl1pPr>
          </a:lstStyle>
          <a:p>
            <a:endParaRPr/>
          </a:p>
        </p:txBody>
      </p:sp>
      <p:sp>
        <p:nvSpPr>
          <p:cNvPr id="3" name="Holder 3"/>
          <p:cNvSpPr>
            <a:spLocks noGrp="1"/>
          </p:cNvSpPr>
          <p:nvPr>
            <p:ph type="body" idx="1"/>
          </p:nvPr>
        </p:nvSpPr>
        <p:spPr>
          <a:xfrm>
            <a:off x="1254759" y="2598877"/>
            <a:ext cx="9682480" cy="1397635"/>
          </a:xfrm>
          <a:prstGeom prst="rect">
            <a:avLst/>
          </a:prstGeom>
        </p:spPr>
        <p:txBody>
          <a:bodyPr wrap="square" lIns="0" tIns="0" rIns="0" bIns="0">
            <a:spAutoFit/>
          </a:bodyPr>
          <a:lstStyle>
            <a:lvl1pPr>
              <a:defRPr sz="1800" b="1" i="0">
                <a:solidFill>
                  <a:srgbClr val="252160"/>
                </a:solidFill>
                <a:latin typeface="Segoe UI"/>
                <a:cs typeface="Segoe U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21/2021</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5D1DB2-046E-7E41-9744-D4DBD932216F}"/>
              </a:ext>
            </a:extLst>
          </p:cNvPr>
          <p:cNvSpPr>
            <a:spLocks noGrp="1"/>
          </p:cNvSpPr>
          <p:nvPr>
            <p:ph type="title"/>
          </p:nvPr>
        </p:nvSpPr>
        <p:spPr>
          <a:xfrm>
            <a:off x="335971" y="253111"/>
            <a:ext cx="9912929" cy="1325563"/>
          </a:xfrm>
          <a:prstGeom prst="rect">
            <a:avLst/>
          </a:prstGeom>
        </p:spPr>
        <p:txBody>
          <a:bodyPr vert="horz" lIns="91440" tIns="45720" rIns="91440" bIns="45720" rtlCol="0" anchor="t">
            <a:normAutofit/>
          </a:bodyPr>
          <a:lstStyle/>
          <a:p>
            <a:r>
              <a:rPr lang="en-US"/>
              <a:t>HEADLINE</a:t>
            </a:r>
          </a:p>
        </p:txBody>
      </p:sp>
      <p:sp>
        <p:nvSpPr>
          <p:cNvPr id="3" name="Text Placeholder 2">
            <a:extLst>
              <a:ext uri="{FF2B5EF4-FFF2-40B4-BE49-F238E27FC236}">
                <a16:creationId xmlns:a16="http://schemas.microsoft.com/office/drawing/2014/main" id="{D017B56B-1AE5-C14F-A11F-0702FB723E36}"/>
              </a:ext>
            </a:extLst>
          </p:cNvPr>
          <p:cNvSpPr>
            <a:spLocks noGrp="1"/>
          </p:cNvSpPr>
          <p:nvPr>
            <p:ph type="body" idx="1"/>
          </p:nvPr>
        </p:nvSpPr>
        <p:spPr>
          <a:xfrm>
            <a:off x="335971" y="1825625"/>
            <a:ext cx="11528329" cy="4351338"/>
          </a:xfrm>
          <a:prstGeom prst="rect">
            <a:avLst/>
          </a:prstGeom>
        </p:spPr>
        <p:txBody>
          <a:bodyPr vert="horz" lIns="91440" tIns="45720" rIns="91440" bIns="45720" rtlCol="0" anchor="t">
            <a:normAutofit/>
          </a:bodyPr>
          <a:lstStyle/>
          <a:p>
            <a:pPr lvl="0"/>
            <a:r>
              <a:rPr lang="en-US"/>
              <a:t>HEADLINE COPY</a:t>
            </a:r>
          </a:p>
          <a:p>
            <a:pPr lvl="1"/>
            <a:r>
              <a:rPr lang="en-US" err="1"/>
              <a:t>Subheader</a:t>
            </a:r>
            <a:endParaRPr lang="en-US"/>
          </a:p>
          <a:p>
            <a:pPr lvl="2"/>
            <a:r>
              <a:rPr lang="en-US"/>
              <a:t>Copy</a:t>
            </a:r>
          </a:p>
          <a:p>
            <a:pPr lvl="3"/>
            <a:r>
              <a:rPr lang="en-US"/>
              <a:t>Copy</a:t>
            </a:r>
          </a:p>
        </p:txBody>
      </p:sp>
      <p:pic>
        <p:nvPicPr>
          <p:cNvPr id="7" name="Picture 6">
            <a:extLst>
              <a:ext uri="{FF2B5EF4-FFF2-40B4-BE49-F238E27FC236}">
                <a16:creationId xmlns:a16="http://schemas.microsoft.com/office/drawing/2014/main" id="{9D7DC10B-7407-FA46-92F3-EBB0DAC79A4D}"/>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9" name="Slide Number Placeholder 8">
            <a:extLst>
              <a:ext uri="{FF2B5EF4-FFF2-40B4-BE49-F238E27FC236}">
                <a16:creationId xmlns:a16="http://schemas.microsoft.com/office/drawing/2014/main" id="{9E1D4AB0-6EA2-9248-A1C8-EE5C6A1C7500}"/>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3063460261"/>
      </p:ext>
    </p:extLst>
  </p:cSld>
  <p:clrMap bg1="dk1" tx1="lt1" bg2="dk2" tx2="lt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Lst>
  <p:hf hdr="0" dt="0"/>
  <p:txStyles>
    <p:titleStyle>
      <a:lvl1pPr algn="l" defTabSz="914400" rtl="0" eaLnBrk="1" latinLnBrk="0" hangingPunct="1">
        <a:lnSpc>
          <a:spcPct val="100000"/>
        </a:lnSpc>
        <a:spcBef>
          <a:spcPts val="0"/>
        </a:spcBef>
        <a:spcAft>
          <a:spcPts val="600"/>
        </a:spcAft>
        <a:buNone/>
        <a:defRPr sz="4000" b="1" kern="1200">
          <a:solidFill>
            <a:schemeClr val="bg1"/>
          </a:solidFill>
          <a:latin typeface="Myriad Pro" panose="020B050303040302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bg1"/>
          </a:solidFill>
          <a:latin typeface="Myriad Pro" panose="020B0503030403020204" pitchFamily="34" charset="0"/>
          <a:ea typeface="+mn-ea"/>
          <a:cs typeface="+mn-cs"/>
        </a:defRPr>
      </a:lvl1pPr>
      <a:lvl2pPr marL="45720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bg1"/>
          </a:solidFill>
          <a:latin typeface="Myriad Pro" panose="020B0503030403020204" pitchFamily="34" charset="0"/>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yriad Pro" panose="020B0503030403020204" pitchFamily="34" charset="0"/>
          <a:ea typeface="+mn-ea"/>
          <a:cs typeface="+mn-cs"/>
        </a:defRPr>
      </a:lvl3pPr>
      <a:lvl4pPr marL="13716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kern="1200">
          <a:solidFill>
            <a:schemeClr val="bg1"/>
          </a:solidFill>
          <a:latin typeface="Myriad Pro" panose="020B0503030403020204" pitchFamily="34" charset="0"/>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40">
          <p15:clr>
            <a:srgbClr val="F26B43"/>
          </p15:clr>
        </p15:guide>
        <p15:guide id="4" pos="264">
          <p15:clr>
            <a:srgbClr val="F26B43"/>
          </p15:clr>
        </p15:guide>
        <p15:guide id="5" pos="960">
          <p15:clr>
            <a:srgbClr val="F26B43"/>
          </p15:clr>
        </p15:guide>
        <p15:guide id="6" pos="1536">
          <p15:clr>
            <a:srgbClr val="F26B43"/>
          </p15:clr>
        </p15:guide>
        <p15:guide id="7" pos="2112">
          <p15:clr>
            <a:srgbClr val="F26B43"/>
          </p15:clr>
        </p15:guide>
        <p15:guide id="8" pos="2688">
          <p15:clr>
            <a:srgbClr val="F26B43"/>
          </p15:clr>
        </p15:guide>
        <p15:guide id="9" pos="3264">
          <p15:clr>
            <a:srgbClr val="F26B43"/>
          </p15:clr>
        </p15:guide>
        <p15:guide id="10" pos="4416">
          <p15:clr>
            <a:srgbClr val="F26B43"/>
          </p15:clr>
        </p15:guide>
        <p15:guide id="11" pos="4992">
          <p15:clr>
            <a:srgbClr val="F26B43"/>
          </p15:clr>
        </p15:guide>
        <p15:guide id="12" pos="5568">
          <p15:clr>
            <a:srgbClr val="F26B43"/>
          </p15:clr>
        </p15:guide>
        <p15:guide id="13" pos="6144">
          <p15:clr>
            <a:srgbClr val="F26B43"/>
          </p15:clr>
        </p15:guide>
        <p15:guide id="14" pos="67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5D1DB2-046E-7E41-9744-D4DBD932216F}"/>
              </a:ext>
            </a:extLst>
          </p:cNvPr>
          <p:cNvSpPr>
            <a:spLocks noGrp="1"/>
          </p:cNvSpPr>
          <p:nvPr>
            <p:ph type="title"/>
          </p:nvPr>
        </p:nvSpPr>
        <p:spPr>
          <a:xfrm>
            <a:off x="335971" y="253111"/>
            <a:ext cx="9912929" cy="1325563"/>
          </a:xfrm>
          <a:prstGeom prst="rect">
            <a:avLst/>
          </a:prstGeom>
        </p:spPr>
        <p:txBody>
          <a:bodyPr vert="horz" lIns="91440" tIns="45720" rIns="91440" bIns="45720" rtlCol="0" anchor="t">
            <a:normAutofit/>
          </a:bodyPr>
          <a:lstStyle/>
          <a:p>
            <a:r>
              <a:rPr lang="en-US"/>
              <a:t>HEADLINE</a:t>
            </a:r>
          </a:p>
        </p:txBody>
      </p:sp>
      <p:sp>
        <p:nvSpPr>
          <p:cNvPr id="3" name="Text Placeholder 2">
            <a:extLst>
              <a:ext uri="{FF2B5EF4-FFF2-40B4-BE49-F238E27FC236}">
                <a16:creationId xmlns:a16="http://schemas.microsoft.com/office/drawing/2014/main" id="{D017B56B-1AE5-C14F-A11F-0702FB723E36}"/>
              </a:ext>
            </a:extLst>
          </p:cNvPr>
          <p:cNvSpPr>
            <a:spLocks noGrp="1"/>
          </p:cNvSpPr>
          <p:nvPr>
            <p:ph type="body" idx="1"/>
          </p:nvPr>
        </p:nvSpPr>
        <p:spPr>
          <a:xfrm>
            <a:off x="335971" y="1825625"/>
            <a:ext cx="11528329" cy="4351338"/>
          </a:xfrm>
          <a:prstGeom prst="rect">
            <a:avLst/>
          </a:prstGeom>
        </p:spPr>
        <p:txBody>
          <a:bodyPr vert="horz" lIns="91440" tIns="45720" rIns="91440" bIns="45720" rtlCol="0" anchor="t">
            <a:normAutofit/>
          </a:bodyPr>
          <a:lstStyle/>
          <a:p>
            <a:pPr lvl="0"/>
            <a:r>
              <a:rPr lang="en-US"/>
              <a:t>HEADLINE COPY</a:t>
            </a:r>
          </a:p>
          <a:p>
            <a:pPr lvl="1"/>
            <a:r>
              <a:rPr lang="en-US" err="1"/>
              <a:t>Subheader</a:t>
            </a:r>
            <a:endParaRPr lang="en-US"/>
          </a:p>
          <a:p>
            <a:pPr lvl="2"/>
            <a:r>
              <a:rPr lang="en-US"/>
              <a:t>Copy</a:t>
            </a:r>
          </a:p>
          <a:p>
            <a:pPr lvl="3"/>
            <a:r>
              <a:rPr lang="en-US"/>
              <a:t>Copy</a:t>
            </a:r>
          </a:p>
        </p:txBody>
      </p:sp>
      <p:pic>
        <p:nvPicPr>
          <p:cNvPr id="7" name="Picture 6">
            <a:extLst>
              <a:ext uri="{FF2B5EF4-FFF2-40B4-BE49-F238E27FC236}">
                <a16:creationId xmlns:a16="http://schemas.microsoft.com/office/drawing/2014/main" id="{9D7DC10B-7407-FA46-92F3-EBB0DAC79A4D}"/>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0603880" y="251147"/>
            <a:ext cx="1277353" cy="664745"/>
          </a:xfrm>
          <a:prstGeom prst="rect">
            <a:avLst/>
          </a:prstGeom>
        </p:spPr>
      </p:pic>
      <p:sp>
        <p:nvSpPr>
          <p:cNvPr id="9" name="Slide Number Placeholder 8">
            <a:extLst>
              <a:ext uri="{FF2B5EF4-FFF2-40B4-BE49-F238E27FC236}">
                <a16:creationId xmlns:a16="http://schemas.microsoft.com/office/drawing/2014/main" id="{9E1D4AB0-6EA2-9248-A1C8-EE5C6A1C7500}"/>
              </a:ext>
            </a:extLst>
          </p:cNvPr>
          <p:cNvSpPr>
            <a:spLocks noGrp="1"/>
          </p:cNvSpPr>
          <p:nvPr>
            <p:ph type="sldNum" sz="quarter" idx="4"/>
          </p:nvPr>
        </p:nvSpPr>
        <p:spPr>
          <a:xfrm>
            <a:off x="10248900" y="6356350"/>
            <a:ext cx="1680631" cy="365125"/>
          </a:xfrm>
          <a:prstGeom prst="rect">
            <a:avLst/>
          </a:prstGeom>
        </p:spPr>
        <p:txBody>
          <a:bodyPr vert="horz" lIns="91440" tIns="45720" rIns="91440" bIns="45720" rtlCol="0" anchor="ctr"/>
          <a:lstStyle>
            <a:lvl1pPr algn="r">
              <a:defRPr sz="1100" b="1">
                <a:solidFill>
                  <a:schemeClr val="tx2">
                    <a:lumMod val="75000"/>
                  </a:schemeClr>
                </a:solidFill>
                <a:latin typeface="Myriad Pro" panose="020B0503030403020204" pitchFamily="34" charset="0"/>
              </a:defRPr>
            </a:lvl1pPr>
          </a:lstStyle>
          <a:p>
            <a:r>
              <a:rPr lang="en-US" dirty="0"/>
              <a:t>© Sysco 2021  |  </a:t>
            </a:r>
            <a:fld id="{9F9D41EE-D4DD-3A44-AD6F-DC82B5908678}" type="slidenum">
              <a:rPr lang="en-US" smtClean="0"/>
              <a:pPr/>
              <a:t>‹N°›</a:t>
            </a:fld>
            <a:endParaRPr lang="en-US" dirty="0"/>
          </a:p>
        </p:txBody>
      </p:sp>
    </p:spTree>
    <p:extLst>
      <p:ext uri="{BB962C8B-B14F-4D97-AF65-F5344CB8AC3E}">
        <p14:creationId xmlns:p14="http://schemas.microsoft.com/office/powerpoint/2010/main" val="1345193158"/>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40" r:id="rId34"/>
  </p:sldLayoutIdLst>
  <p:hf hdr="0" dt="0"/>
  <p:txStyles>
    <p:titleStyle>
      <a:lvl1pPr algn="l" defTabSz="914400" rtl="0" eaLnBrk="1" latinLnBrk="0" hangingPunct="1">
        <a:lnSpc>
          <a:spcPct val="100000"/>
        </a:lnSpc>
        <a:spcBef>
          <a:spcPts val="0"/>
        </a:spcBef>
        <a:spcAft>
          <a:spcPts val="600"/>
        </a:spcAft>
        <a:buNone/>
        <a:defRPr sz="4000" b="1" kern="1200">
          <a:solidFill>
            <a:schemeClr val="bg1"/>
          </a:solidFill>
          <a:latin typeface="Myriad Pro" panose="020B050303040302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bg1"/>
          </a:solidFill>
          <a:latin typeface="Myriad Pro" panose="020B0503030403020204" pitchFamily="34" charset="0"/>
          <a:ea typeface="+mn-ea"/>
          <a:cs typeface="+mn-cs"/>
        </a:defRPr>
      </a:lvl1pPr>
      <a:lvl2pPr marL="45720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bg1"/>
          </a:solidFill>
          <a:latin typeface="Myriad Pro" panose="020B0503030403020204" pitchFamily="34" charset="0"/>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yriad Pro" panose="020B0503030403020204" pitchFamily="34" charset="0"/>
          <a:ea typeface="+mn-ea"/>
          <a:cs typeface="+mn-cs"/>
        </a:defRPr>
      </a:lvl3pPr>
      <a:lvl4pPr marL="13716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kern="1200">
          <a:solidFill>
            <a:schemeClr val="bg1"/>
          </a:solidFill>
          <a:latin typeface="Myriad Pro" panose="020B0503030403020204" pitchFamily="34" charset="0"/>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40">
          <p15:clr>
            <a:srgbClr val="F26B43"/>
          </p15:clr>
        </p15:guide>
        <p15:guide id="4" pos="264">
          <p15:clr>
            <a:srgbClr val="F26B43"/>
          </p15:clr>
        </p15:guide>
        <p15:guide id="5" pos="960">
          <p15:clr>
            <a:srgbClr val="F26B43"/>
          </p15:clr>
        </p15:guide>
        <p15:guide id="6" pos="1536">
          <p15:clr>
            <a:srgbClr val="F26B43"/>
          </p15:clr>
        </p15:guide>
        <p15:guide id="7" pos="2112">
          <p15:clr>
            <a:srgbClr val="F26B43"/>
          </p15:clr>
        </p15:guide>
        <p15:guide id="8" pos="2688">
          <p15:clr>
            <a:srgbClr val="F26B43"/>
          </p15:clr>
        </p15:guide>
        <p15:guide id="9" pos="3264">
          <p15:clr>
            <a:srgbClr val="F26B43"/>
          </p15:clr>
        </p15:guide>
        <p15:guide id="10" pos="4416">
          <p15:clr>
            <a:srgbClr val="F26B43"/>
          </p15:clr>
        </p15:guide>
        <p15:guide id="11" pos="4992">
          <p15:clr>
            <a:srgbClr val="F26B43"/>
          </p15:clr>
        </p15:guide>
        <p15:guide id="12" pos="5568">
          <p15:clr>
            <a:srgbClr val="F26B43"/>
          </p15:clr>
        </p15:guide>
        <p15:guide id="13" pos="6144">
          <p15:clr>
            <a:srgbClr val="F26B43"/>
          </p15:clr>
        </p15:guide>
        <p15:guide id="14" pos="674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5"/>
            </p:custDataLst>
          </p:nvPr>
        </p:nvGraphicFramePr>
        <p:xfrm>
          <a:off x="1" y="1"/>
          <a:ext cx="211667" cy="158751"/>
        </p:xfrm>
        <a:graphic>
          <a:graphicData uri="http://schemas.openxmlformats.org/presentationml/2006/ole">
            <mc:AlternateContent xmlns:mc="http://schemas.openxmlformats.org/markup-compatibility/2006">
              <mc:Choice xmlns:v="urn:schemas-microsoft-com:vml" Requires="v">
                <p:oleObj spid="_x0000_s2050" name="Diapositive think-cell" r:id="rId21" imgW="360" imgH="360" progId="TCLayout.ActiveDocument.1">
                  <p:embed/>
                </p:oleObj>
              </mc:Choice>
              <mc:Fallback>
                <p:oleObj name="Diapositive think-cell" r:id="rId21" imgW="360" imgH="360" progId="TCLayout.ActiveDocument.1">
                  <p:embed/>
                  <p:pic>
                    <p:nvPicPr>
                      <p:cNvPr id="1026"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86"/>
          <p:cNvSpPr>
            <a:spLocks noGrp="1" noChangeArrowheads="1"/>
          </p:cNvSpPr>
          <p:nvPr>
            <p:ph type="body" idx="1"/>
          </p:nvPr>
        </p:nvSpPr>
        <p:spPr bwMode="gray">
          <a:xfrm>
            <a:off x="211767" y="1180701"/>
            <a:ext cx="11722720" cy="923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Title Placeholder 2"/>
          <p:cNvSpPr>
            <a:spLocks noGrp="1" noChangeArrowheads="1"/>
          </p:cNvSpPr>
          <p:nvPr>
            <p:ph type="title"/>
          </p:nvPr>
        </p:nvSpPr>
        <p:spPr bwMode="gray">
          <a:xfrm>
            <a:off x="182035" y="247517"/>
            <a:ext cx="12009967" cy="323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9" name="1. On-page tracker" hidden="1"/>
          <p:cNvSpPr>
            <a:spLocks noChangeArrowheads="1"/>
          </p:cNvSpPr>
          <p:nvPr/>
        </p:nvSpPr>
        <p:spPr bwMode="gray">
          <a:xfrm>
            <a:off x="3915837" y="65090"/>
            <a:ext cx="633187" cy="16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051" kern="1200" dirty="0">
                <a:solidFill>
                  <a:srgbClr val="808080"/>
                </a:solidFill>
                <a:latin typeface="Verdana" panose="020B0604030504040204" pitchFamily="34" charset="0"/>
                <a:ea typeface="+mn-ea"/>
                <a:cs typeface="+mn-cs"/>
              </a:rPr>
              <a:t>TRACKER</a:t>
            </a:r>
          </a:p>
        </p:txBody>
      </p:sp>
      <p:sp>
        <p:nvSpPr>
          <p:cNvPr id="11" name="3. Unit of measure" hidden="1"/>
          <p:cNvSpPr txBox="1">
            <a:spLocks noChangeArrowheads="1"/>
          </p:cNvSpPr>
          <p:nvPr/>
        </p:nvSpPr>
        <p:spPr bwMode="gray">
          <a:xfrm>
            <a:off x="182034" y="825504"/>
            <a:ext cx="11802533" cy="220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51" kern="1200" dirty="0">
                <a:solidFill>
                  <a:srgbClr val="808080"/>
                </a:solidFill>
                <a:latin typeface="Verdana"/>
                <a:ea typeface="+mn-ea"/>
                <a:cs typeface="+mn-cs"/>
              </a:rPr>
              <a:t>Unit of measure</a:t>
            </a:r>
          </a:p>
        </p:txBody>
      </p:sp>
      <p:grpSp>
        <p:nvGrpSpPr>
          <p:cNvPr id="1031" name="Slide Elements" hidden="1"/>
          <p:cNvGrpSpPr>
            <a:grpSpLocks/>
          </p:cNvGrpSpPr>
          <p:nvPr/>
        </p:nvGrpSpPr>
        <p:grpSpPr bwMode="auto">
          <a:xfrm>
            <a:off x="162987" y="6449311"/>
            <a:ext cx="11857567" cy="319814"/>
            <a:chOff x="75" y="3982"/>
            <a:chExt cx="5661" cy="197"/>
          </a:xfrm>
        </p:grpSpPr>
        <p:sp>
          <p:nvSpPr>
            <p:cNvPr id="13" name="4. Footnote"/>
            <p:cNvSpPr txBox="1">
              <a:spLocks noChangeArrowheads="1"/>
            </p:cNvSpPr>
            <p:nvPr/>
          </p:nvSpPr>
          <p:spPr bwMode="gray">
            <a:xfrm>
              <a:off x="85" y="3982"/>
              <a:ext cx="5651"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2867" indent="-92867" fontAlgn="base">
                <a:spcBef>
                  <a:spcPct val="0"/>
                </a:spcBef>
                <a:spcAft>
                  <a:spcPct val="0"/>
                </a:spcAft>
                <a:buClrTx/>
                <a:buFontTx/>
                <a:buNone/>
                <a:defRPr/>
              </a:pPr>
              <a:r>
                <a:rPr lang="en-US" sz="751" kern="1200" dirty="0">
                  <a:solidFill>
                    <a:srgbClr val="000000"/>
                  </a:solidFill>
                  <a:latin typeface="Verdana"/>
                  <a:ea typeface="+mn-ea"/>
                  <a:cs typeface="+mn-cs"/>
                </a:rPr>
                <a:t>1 Footnote</a:t>
              </a:r>
            </a:p>
          </p:txBody>
        </p:sp>
        <p:sp>
          <p:nvSpPr>
            <p:cNvPr id="1081" name="5. Source"/>
            <p:cNvSpPr>
              <a:spLocks noChangeArrowheads="1"/>
            </p:cNvSpPr>
            <p:nvPr/>
          </p:nvSpPr>
          <p:spPr bwMode="gray">
            <a:xfrm>
              <a:off x="75" y="4108"/>
              <a:ext cx="5223"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65150" indent="-565150" defTabSz="912813">
                <a:tabLst>
                  <a:tab pos="573088" algn="l"/>
                </a:tabLst>
                <a:defRPr sz="1600">
                  <a:solidFill>
                    <a:schemeClr val="tx1"/>
                  </a:solidFill>
                  <a:latin typeface="Arial" panose="020B0604020202020204" pitchFamily="34" charset="0"/>
                </a:defRPr>
              </a:lvl1pPr>
              <a:lvl2pPr marL="742950" indent="-285750" defTabSz="912813">
                <a:tabLst>
                  <a:tab pos="573088" algn="l"/>
                </a:tabLst>
                <a:defRPr sz="1600">
                  <a:solidFill>
                    <a:schemeClr val="tx1"/>
                  </a:solidFill>
                  <a:latin typeface="Arial" panose="020B0604020202020204" pitchFamily="34" charset="0"/>
                </a:defRPr>
              </a:lvl2pPr>
              <a:lvl3pPr marL="1143000" indent="-228600" defTabSz="912813">
                <a:tabLst>
                  <a:tab pos="573088" algn="l"/>
                </a:tabLst>
                <a:defRPr sz="1600">
                  <a:solidFill>
                    <a:schemeClr val="tx1"/>
                  </a:solidFill>
                  <a:latin typeface="Arial" panose="020B0604020202020204" pitchFamily="34" charset="0"/>
                </a:defRPr>
              </a:lvl3pPr>
              <a:lvl4pPr marL="1600200" indent="-228600" defTabSz="912813">
                <a:tabLst>
                  <a:tab pos="573088" algn="l"/>
                </a:tabLst>
                <a:defRPr sz="1600">
                  <a:solidFill>
                    <a:schemeClr val="tx1"/>
                  </a:solidFill>
                  <a:latin typeface="Arial" panose="020B0604020202020204" pitchFamily="34" charset="0"/>
                </a:defRPr>
              </a:lvl4pPr>
              <a:lvl5pPr marL="2057400" indent="-228600" defTabSz="912813">
                <a:tabLst>
                  <a:tab pos="573088" algn="l"/>
                </a:tabLst>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tabLst>
                  <a:tab pos="573088" algn="l"/>
                </a:tabLs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751" kern="1200" dirty="0">
                  <a:solidFill>
                    <a:srgbClr val="000000"/>
                  </a:solidFill>
                  <a:latin typeface="Verdana" panose="020B0604030504040204" pitchFamily="34" charset="0"/>
                  <a:ea typeface="+mn-ea"/>
                  <a:cs typeface="+mn-cs"/>
                </a:rPr>
                <a:t>Source:	Source</a:t>
              </a:r>
            </a:p>
          </p:txBody>
        </p:sp>
      </p:grpSp>
      <p:grpSp>
        <p:nvGrpSpPr>
          <p:cNvPr id="1032" name="ACET" hidden="1"/>
          <p:cNvGrpSpPr>
            <a:grpSpLocks/>
          </p:cNvGrpSpPr>
          <p:nvPr/>
        </p:nvGrpSpPr>
        <p:grpSpPr bwMode="auto">
          <a:xfrm>
            <a:off x="3003554" y="2439627"/>
            <a:ext cx="5801783" cy="387713"/>
            <a:chOff x="915" y="791"/>
            <a:chExt cx="2686" cy="239"/>
          </a:xfrm>
        </p:grpSpPr>
        <p:cxnSp>
          <p:nvCxnSpPr>
            <p:cNvPr id="1078" name="AutoShape 249"/>
            <p:cNvCxnSpPr>
              <a:cxnSpLocks noChangeShapeType="1"/>
              <a:stCxn id="1079" idx="4"/>
              <a:endCxn id="1079"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79" name="AutoShape 250"/>
            <p:cNvSpPr>
              <a:spLocks noChangeArrowheads="1"/>
            </p:cNvSpPr>
            <p:nvPr/>
          </p:nvSpPr>
          <p:spPr bwMode="gray">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Verdana" panose="020B0604030504040204" pitchFamily="34" charset="0"/>
                  <a:ea typeface="+mn-ea"/>
                  <a:cs typeface="+mn-cs"/>
                </a:rPr>
                <a:t>Title</a:t>
              </a:r>
            </a:p>
            <a:p>
              <a:pPr fontAlgn="base">
                <a:spcBef>
                  <a:spcPct val="0"/>
                </a:spcBef>
                <a:spcAft>
                  <a:spcPct val="0"/>
                </a:spcAft>
                <a:buClrTx/>
                <a:buFontTx/>
                <a:buNone/>
              </a:pPr>
              <a:r>
                <a:rPr lang="en-US" altLang="en-US" sz="1200" kern="1200" dirty="0">
                  <a:solidFill>
                    <a:srgbClr val="808080"/>
                  </a:solidFill>
                  <a:latin typeface="Verdana" panose="020B0604030504040204" pitchFamily="34" charset="0"/>
                  <a:ea typeface="+mn-ea"/>
                  <a:cs typeface="+mn-cs"/>
                </a:rPr>
                <a:t>Unit of measure</a:t>
              </a:r>
            </a:p>
          </p:txBody>
        </p:sp>
      </p:grpSp>
      <p:grpSp>
        <p:nvGrpSpPr>
          <p:cNvPr id="1034" name="Sticker" hidden="1"/>
          <p:cNvGrpSpPr>
            <a:grpSpLocks/>
          </p:cNvGrpSpPr>
          <p:nvPr/>
        </p:nvGrpSpPr>
        <p:grpSpPr bwMode="auto">
          <a:xfrm>
            <a:off x="11117229" y="534992"/>
            <a:ext cx="867349" cy="166688"/>
            <a:chOff x="5113" y="376"/>
            <a:chExt cx="393" cy="105"/>
          </a:xfrm>
        </p:grpSpPr>
        <p:cxnSp>
          <p:nvCxnSpPr>
            <p:cNvPr id="1075" name="AutoShape 19"/>
            <p:cNvCxnSpPr>
              <a:cxnSpLocks noChangeShapeType="1"/>
              <a:stCxn id="1076" idx="4"/>
              <a:endCxn id="1076" idx="6"/>
            </p:cNvCxnSpPr>
            <p:nvPr userDrawn="1"/>
          </p:nvCxnSpPr>
          <p:spPr bwMode="gray">
            <a:xfrm>
              <a:off x="5113" y="481"/>
              <a:ext cx="393"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76" name="StickerRectangle"/>
            <p:cNvSpPr>
              <a:spLocks noChangeArrowheads="1"/>
            </p:cNvSpPr>
            <p:nvPr userDrawn="1"/>
          </p:nvSpPr>
          <p:spPr bwMode="gray">
            <a:xfrm>
              <a:off x="5113" y="376"/>
              <a:ext cx="393"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algn="r" fontAlgn="base">
                <a:spcBef>
                  <a:spcPct val="0"/>
                </a:spcBef>
                <a:spcAft>
                  <a:spcPct val="0"/>
                </a:spcAft>
                <a:buClrTx/>
                <a:buFontTx/>
                <a:buNone/>
              </a:pPr>
              <a:r>
                <a:rPr lang="en-US" altLang="en-US" sz="900" kern="1200" dirty="0">
                  <a:solidFill>
                    <a:srgbClr val="808080"/>
                  </a:solidFill>
                  <a:latin typeface="Verdana" panose="020B0604030504040204" pitchFamily="34" charset="0"/>
                  <a:ea typeface="+mn-ea"/>
                  <a:cs typeface="Arial" panose="020B0604020202020204" pitchFamily="34" charset="0"/>
                </a:rPr>
                <a:t>ILLUSTRATIVE</a:t>
              </a:r>
              <a:endParaRPr lang="en-US" altLang="en-US" sz="1351" kern="1200" dirty="0">
                <a:solidFill>
                  <a:srgbClr val="000000"/>
                </a:solidFill>
                <a:latin typeface="Verdana" panose="020B0604030504040204" pitchFamily="34" charset="0"/>
                <a:ea typeface="+mn-ea"/>
                <a:cs typeface="Arial" panose="020B0604020202020204" pitchFamily="34" charset="0"/>
              </a:endParaRPr>
            </a:p>
          </p:txBody>
        </p:sp>
        <p:cxnSp>
          <p:nvCxnSpPr>
            <p:cNvPr id="1077" name="AutoShape 21"/>
            <p:cNvCxnSpPr>
              <a:cxnSpLocks noChangeShapeType="1"/>
              <a:stCxn id="1076" idx="2"/>
              <a:endCxn id="1076" idx="4"/>
            </p:cNvCxnSpPr>
            <p:nvPr userDrawn="1"/>
          </p:nvCxnSpPr>
          <p:spPr bwMode="gray">
            <a:xfrm>
              <a:off x="5113" y="376"/>
              <a:ext cx="0" cy="105"/>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035" name="LegendBoxes" hidden="1"/>
          <p:cNvGrpSpPr>
            <a:grpSpLocks/>
          </p:cNvGrpSpPr>
          <p:nvPr/>
        </p:nvGrpSpPr>
        <p:grpSpPr bwMode="auto">
          <a:xfrm>
            <a:off x="10909320" y="534988"/>
            <a:ext cx="764879" cy="1004625"/>
            <a:chOff x="4936" y="176"/>
            <a:chExt cx="354" cy="620"/>
          </a:xfrm>
        </p:grpSpPr>
        <p:sp>
          <p:nvSpPr>
            <p:cNvPr id="1067" name="Legend1"/>
            <p:cNvSpPr>
              <a:spLocks noChangeArrowheads="1"/>
            </p:cNvSpPr>
            <p:nvPr/>
          </p:nvSpPr>
          <p:spPr bwMode="gray">
            <a:xfrm>
              <a:off x="5096" y="176"/>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6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1069" name="Legend2"/>
            <p:cNvSpPr>
              <a:spLocks noChangeArrowheads="1"/>
            </p:cNvSpPr>
            <p:nvPr/>
          </p:nvSpPr>
          <p:spPr bwMode="gray">
            <a:xfrm>
              <a:off x="5096" y="346"/>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7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1071" name="Legend3"/>
            <p:cNvSpPr>
              <a:spLocks noChangeArrowheads="1"/>
            </p:cNvSpPr>
            <p:nvPr/>
          </p:nvSpPr>
          <p:spPr bwMode="gray">
            <a:xfrm>
              <a:off x="5096" y="517"/>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7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1073" name="Legend4"/>
            <p:cNvSpPr>
              <a:spLocks noChangeArrowheads="1"/>
            </p:cNvSpPr>
            <p:nvPr/>
          </p:nvSpPr>
          <p:spPr bwMode="gray">
            <a:xfrm>
              <a:off x="5096" y="688"/>
              <a:ext cx="194" cy="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7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grpSp>
      <p:grpSp>
        <p:nvGrpSpPr>
          <p:cNvPr id="1036" name="LegendLines" hidden="1"/>
          <p:cNvGrpSpPr>
            <a:grpSpLocks/>
          </p:cNvGrpSpPr>
          <p:nvPr/>
        </p:nvGrpSpPr>
        <p:grpSpPr bwMode="auto">
          <a:xfrm>
            <a:off x="10490213" y="534989"/>
            <a:ext cx="1183994" cy="695980"/>
            <a:chOff x="4750" y="176"/>
            <a:chExt cx="548" cy="43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defRPr/>
              </a:pPr>
              <a:endParaRPr lang="en-US" sz="900" kern="1200" dirty="0">
                <a:latin typeface="Verdana"/>
                <a:ea typeface="+mn-ea"/>
                <a:cs typeface="+mn-cs"/>
              </a:endParaRPr>
            </a:p>
          </p:txBody>
        </p:sp>
        <p:sp>
          <p:nvSpPr>
            <p:cNvPr id="1064" name="Legend1"/>
            <p:cNvSpPr>
              <a:spLocks noChangeArrowheads="1"/>
            </p:cNvSpPr>
            <p:nvPr/>
          </p:nvSpPr>
          <p:spPr bwMode="gray">
            <a:xfrm>
              <a:off x="5104" y="176"/>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65" name="Legend2"/>
            <p:cNvSpPr>
              <a:spLocks noChangeArrowheads="1"/>
            </p:cNvSpPr>
            <p:nvPr/>
          </p:nvSpPr>
          <p:spPr bwMode="gray">
            <a:xfrm>
              <a:off x="5104" y="344"/>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66" name="Legend3"/>
            <p:cNvSpPr>
              <a:spLocks noChangeArrowheads="1"/>
            </p:cNvSpPr>
            <p:nvPr/>
          </p:nvSpPr>
          <p:spPr bwMode="gray">
            <a:xfrm>
              <a:off x="5104" y="520"/>
              <a:ext cx="194"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grpSp>
      <p:grpSp>
        <p:nvGrpSpPr>
          <p:cNvPr id="1037" name="LegendMoons" hidden="1"/>
          <p:cNvGrpSpPr>
            <a:grpSpLocks/>
          </p:cNvGrpSpPr>
          <p:nvPr/>
        </p:nvGrpSpPr>
        <p:grpSpPr bwMode="auto">
          <a:xfrm>
            <a:off x="10818308" y="534989"/>
            <a:ext cx="856459" cy="1333500"/>
            <a:chOff x="7769225" y="2105025"/>
            <a:chExt cx="629238" cy="1306516"/>
          </a:xfrm>
        </p:grpSpPr>
        <p:grpSp>
          <p:nvGrpSpPr>
            <p:cNvPr id="1041" name="MoonLegend1"/>
            <p:cNvGrpSpPr>
              <a:grpSpLocks noChangeAspect="1"/>
            </p:cNvGrpSpPr>
            <p:nvPr>
              <p:custDataLst>
                <p:tags r:id="rId6"/>
              </p:custDataLst>
            </p:nvPr>
          </p:nvGrpSpPr>
          <p:grpSpPr bwMode="auto">
            <a:xfrm>
              <a:off x="7769225" y="2105025"/>
              <a:ext cx="209550" cy="209551"/>
              <a:chOff x="4533" y="183"/>
              <a:chExt cx="144" cy="144"/>
            </a:xfrm>
          </p:grpSpPr>
          <p:sp>
            <p:nvSpPr>
              <p:cNvPr id="59"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60"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1042" name="MoonLegend2"/>
            <p:cNvGrpSpPr>
              <a:grpSpLocks noChangeAspect="1"/>
            </p:cNvGrpSpPr>
            <p:nvPr>
              <p:custDataLst>
                <p:tags r:id="rId7"/>
              </p:custDataLst>
            </p:nvPr>
          </p:nvGrpSpPr>
          <p:grpSpPr bwMode="auto">
            <a:xfrm>
              <a:off x="7769225" y="2379266"/>
              <a:ext cx="209550" cy="209551"/>
              <a:chOff x="1694" y="2044"/>
              <a:chExt cx="160" cy="160"/>
            </a:xfrm>
          </p:grpSpPr>
          <p:sp>
            <p:nvSpPr>
              <p:cNvPr id="57"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58" name="Arc 42"/>
              <p:cNvSpPr>
                <a:spLocks noChangeAspect="1"/>
              </p:cNvSpPr>
              <p:nvPr>
                <p:custDataLst>
                  <p:tags r:id="rId18"/>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1043" name="MoonLegend4"/>
            <p:cNvGrpSpPr>
              <a:grpSpLocks noChangeAspect="1"/>
            </p:cNvGrpSpPr>
            <p:nvPr>
              <p:custDataLst>
                <p:tags r:id="rId8"/>
              </p:custDataLst>
            </p:nvPr>
          </p:nvGrpSpPr>
          <p:grpSpPr bwMode="auto">
            <a:xfrm>
              <a:off x="7769225" y="2927748"/>
              <a:ext cx="209550" cy="209551"/>
              <a:chOff x="4495" y="1198"/>
              <a:chExt cx="160" cy="160"/>
            </a:xfrm>
          </p:grpSpPr>
          <p:sp>
            <p:nvSpPr>
              <p:cNvPr id="55"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56"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nvGrpSpPr>
            <p:cNvPr id="1044" name="MoonLegend5"/>
            <p:cNvGrpSpPr>
              <a:grpSpLocks noChangeAspect="1"/>
            </p:cNvGrpSpPr>
            <p:nvPr>
              <p:custDataLst>
                <p:tags r:id="rId9"/>
              </p:custDataLst>
            </p:nvPr>
          </p:nvGrpSpPr>
          <p:grpSpPr bwMode="auto">
            <a:xfrm>
              <a:off x="7769225" y="3201990"/>
              <a:ext cx="209550" cy="209551"/>
              <a:chOff x="4495" y="1440"/>
              <a:chExt cx="160" cy="160"/>
            </a:xfrm>
          </p:grpSpPr>
          <p:sp>
            <p:nvSpPr>
              <p:cNvPr id="1053"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900" kern="1200" dirty="0">
                  <a:solidFill>
                    <a:srgbClr val="000000"/>
                  </a:solidFill>
                  <a:latin typeface="Verdana" panose="020B0604030504040204" pitchFamily="34" charset="0"/>
                  <a:ea typeface="+mn-ea"/>
                  <a:cs typeface="+mn-cs"/>
                </a:endParaRPr>
              </a:p>
            </p:txBody>
          </p:sp>
          <p:sp>
            <p:nvSpPr>
              <p:cNvPr id="54"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sp>
          <p:nvSpPr>
            <p:cNvPr id="1045" name="Legend1"/>
            <p:cNvSpPr>
              <a:spLocks noChangeArrowheads="1"/>
            </p:cNvSpPr>
            <p:nvPr/>
          </p:nvSpPr>
          <p:spPr bwMode="gray">
            <a:xfrm>
              <a:off x="8089900" y="2117725"/>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46" name="Legend2"/>
            <p:cNvSpPr>
              <a:spLocks noChangeArrowheads="1"/>
            </p:cNvSpPr>
            <p:nvPr/>
          </p:nvSpPr>
          <p:spPr bwMode="gray">
            <a:xfrm>
              <a:off x="8089900" y="2392363"/>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47" name="Legend3"/>
            <p:cNvSpPr>
              <a:spLocks noChangeArrowheads="1"/>
            </p:cNvSpPr>
            <p:nvPr/>
          </p:nvSpPr>
          <p:spPr bwMode="gray">
            <a:xfrm>
              <a:off x="8089900" y="2667002"/>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48" name="Legend4"/>
            <p:cNvSpPr>
              <a:spLocks noChangeArrowheads="1"/>
            </p:cNvSpPr>
            <p:nvPr/>
          </p:nvSpPr>
          <p:spPr bwMode="gray">
            <a:xfrm>
              <a:off x="8089900" y="2938465"/>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sp>
          <p:nvSpPr>
            <p:cNvPr id="1049" name="Legend5"/>
            <p:cNvSpPr>
              <a:spLocks noChangeArrowheads="1"/>
            </p:cNvSpPr>
            <p:nvPr/>
          </p:nvSpPr>
          <p:spPr bwMode="gray">
            <a:xfrm>
              <a:off x="8089900" y="3214691"/>
              <a:ext cx="308563" cy="1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sz="1600">
                  <a:solidFill>
                    <a:schemeClr val="tx1"/>
                  </a:solidFill>
                  <a:latin typeface="Arial" panose="020B0604020202020204" pitchFamily="34" charset="0"/>
                </a:defRPr>
              </a:lvl1pPr>
              <a:lvl2pPr marL="742950" indent="-285750" defTabSz="912813">
                <a:defRPr sz="1600">
                  <a:solidFill>
                    <a:schemeClr val="tx1"/>
                  </a:solidFill>
                  <a:latin typeface="Arial" panose="020B0604020202020204" pitchFamily="34" charset="0"/>
                </a:defRPr>
              </a:lvl2pPr>
              <a:lvl3pPr marL="1143000" indent="-228600" defTabSz="912813">
                <a:defRPr sz="1600">
                  <a:solidFill>
                    <a:schemeClr val="tx1"/>
                  </a:solidFill>
                  <a:latin typeface="Arial" panose="020B0604020202020204" pitchFamily="34" charset="0"/>
                </a:defRPr>
              </a:lvl3pPr>
              <a:lvl4pPr marL="1600200" indent="-228600" defTabSz="912813">
                <a:defRPr sz="1600">
                  <a:solidFill>
                    <a:schemeClr val="tx1"/>
                  </a:solidFill>
                  <a:latin typeface="Arial" panose="020B0604020202020204" pitchFamily="34" charset="0"/>
                </a:defRPr>
              </a:lvl4pPr>
              <a:lvl5pPr marL="2057400" indent="-228600" defTabSz="912813">
                <a:defRPr sz="16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defRPr>
              </a:lvl9pPr>
            </a:lstStyle>
            <a:p>
              <a:pPr fontAlgn="base">
                <a:spcBef>
                  <a:spcPct val="0"/>
                </a:spcBef>
                <a:spcAft>
                  <a:spcPct val="0"/>
                </a:spcAft>
                <a:buClr>
                  <a:srgbClr val="126FBD"/>
                </a:buClr>
                <a:buFontTx/>
                <a:buNone/>
              </a:pPr>
              <a:r>
                <a:rPr lang="en-US" altLang="en-US" sz="900" kern="1200" dirty="0">
                  <a:solidFill>
                    <a:srgbClr val="000000"/>
                  </a:solidFill>
                  <a:latin typeface="Verdana" panose="020B0604030504040204" pitchFamily="34" charset="0"/>
                  <a:ea typeface="+mn-ea"/>
                  <a:cs typeface="+mn-cs"/>
                </a:rPr>
                <a:t>Legend</a:t>
              </a:r>
            </a:p>
          </p:txBody>
        </p:sp>
        <p:grpSp>
          <p:nvGrpSpPr>
            <p:cNvPr id="1050" name="MoonLegend3"/>
            <p:cNvGrpSpPr>
              <a:grpSpLocks noChangeAspect="1"/>
            </p:cNvGrpSpPr>
            <p:nvPr>
              <p:custDataLst>
                <p:tags r:id="rId10"/>
              </p:custDataLst>
            </p:nvPr>
          </p:nvGrpSpPr>
          <p:grpSpPr bwMode="auto">
            <a:xfrm>
              <a:off x="7769225" y="2653507"/>
              <a:ext cx="209550" cy="209551"/>
              <a:chOff x="4495" y="1198"/>
              <a:chExt cx="160" cy="160"/>
            </a:xfrm>
          </p:grpSpPr>
          <p:sp>
            <p:nvSpPr>
              <p:cNvPr id="51" name="Oval 47"/>
              <p:cNvSpPr>
                <a:spLocks noChangeAspect="1" noChangeArrowheads="1"/>
              </p:cNvSpPr>
              <p:nvPr>
                <p:custDataLst>
                  <p:tags r:id="rId11"/>
                </p:custDataLst>
              </p:nvPr>
            </p:nvSpPr>
            <p:spPr bwMode="gray">
              <a:xfrm>
                <a:off x="4495" y="1198"/>
                <a:ext cx="160" cy="159"/>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sp>
            <p:nvSpPr>
              <p:cNvPr id="52" name="Arc 48"/>
              <p:cNvSpPr>
                <a:spLocks noChangeAspect="1"/>
              </p:cNvSpPr>
              <p:nvPr>
                <p:custDataLst>
                  <p:tags r:id="rId12"/>
                </p:custDataLst>
              </p:nvPr>
            </p:nvSpPr>
            <p:spPr bwMode="gray">
              <a:xfrm>
                <a:off x="4495" y="1198"/>
                <a:ext cx="160" cy="159"/>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defRPr/>
                </a:pPr>
                <a:endParaRPr lang="en-US" sz="900" kern="1200" dirty="0">
                  <a:latin typeface="Verdana"/>
                  <a:ea typeface="+mn-ea"/>
                  <a:cs typeface="+mn-cs"/>
                </a:endParaRPr>
              </a:p>
            </p:txBody>
          </p:sp>
        </p:grpSp>
      </p:grpSp>
      <p:sp>
        <p:nvSpPr>
          <p:cNvPr id="1039" name="Line 7"/>
          <p:cNvSpPr>
            <a:spLocks noChangeShapeType="1"/>
          </p:cNvSpPr>
          <p:nvPr/>
        </p:nvSpPr>
        <p:spPr bwMode="gray">
          <a:xfrm flipV="1">
            <a:off x="1071" y="767045"/>
            <a:ext cx="12192000" cy="1588"/>
          </a:xfrm>
          <a:prstGeom prst="line">
            <a:avLst/>
          </a:prstGeom>
          <a:noFill/>
          <a:ln w="12700">
            <a:solidFill>
              <a:srgbClr val="56AA1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buClrTx/>
              <a:buFontTx/>
              <a:buNone/>
            </a:pPr>
            <a:endParaRPr lang="en-US" sz="1200" kern="1200" dirty="0">
              <a:latin typeface="Arial" panose="020B0604020202020204" pitchFamily="34" charset="0"/>
              <a:ea typeface="+mn-ea"/>
              <a:cs typeface="+mn-cs"/>
            </a:endParaRPr>
          </a:p>
        </p:txBody>
      </p:sp>
      <p:pic>
        <p:nvPicPr>
          <p:cNvPr id="3" name="Picture 2"/>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a:off x="-12770" y="6326797"/>
            <a:ext cx="10658927" cy="533475"/>
          </a:xfrm>
          <a:prstGeom prst="rect">
            <a:avLst/>
          </a:prstGeom>
        </p:spPr>
      </p:pic>
      <p:sp>
        <p:nvSpPr>
          <p:cNvPr id="65" name="Text Box 8"/>
          <p:cNvSpPr txBox="1">
            <a:spLocks noChangeArrowheads="1"/>
          </p:cNvSpPr>
          <p:nvPr userDrawn="1"/>
        </p:nvSpPr>
        <p:spPr bwMode="gray">
          <a:xfrm>
            <a:off x="3712727" y="6646293"/>
            <a:ext cx="382199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fontAlgn="base">
              <a:spcBef>
                <a:spcPct val="0"/>
              </a:spcBef>
              <a:spcAft>
                <a:spcPct val="0"/>
              </a:spcAft>
              <a:buClrTx/>
              <a:buFontTx/>
              <a:buNone/>
            </a:pPr>
            <a:r>
              <a:rPr lang="en-US" altLang="en-US" sz="600" kern="1200" dirty="0">
                <a:solidFill>
                  <a:srgbClr val="FFFFFF"/>
                </a:solidFill>
                <a:latin typeface="Verdana" panose="020B0604030504040204" pitchFamily="34" charset="0"/>
                <a:ea typeface="+mn-ea"/>
                <a:cs typeface="Arial" panose="020B0604020202020204" pitchFamily="34" charset="0"/>
              </a:rPr>
              <a:t>--- Sysco Proprietary and Confidential ---</a:t>
            </a:r>
            <a:endParaRPr lang="en-US" altLang="en-US" sz="1051" kern="1200" dirty="0">
              <a:solidFill>
                <a:srgbClr val="FFFFFF"/>
              </a:solidFill>
              <a:ea typeface="+mn-ea"/>
              <a:cs typeface="Arial" panose="020B0604020202020204" pitchFamily="34" charset="0"/>
            </a:endParaRPr>
          </a:p>
        </p:txBody>
      </p:sp>
      <p:sp>
        <p:nvSpPr>
          <p:cNvPr id="61" name="Shape 8"/>
          <p:cNvSpPr txBox="1">
            <a:spLocks/>
          </p:cNvSpPr>
          <p:nvPr userDrawn="1"/>
        </p:nvSpPr>
        <p:spPr>
          <a:xfrm>
            <a:off x="5715585" y="6376093"/>
            <a:ext cx="731600" cy="388235"/>
          </a:xfrm>
          <a:prstGeom prst="rect">
            <a:avLst/>
          </a:prstGeom>
          <a:noFill/>
          <a:ln>
            <a:noFill/>
          </a:ln>
        </p:spPr>
        <p:txBody>
          <a:bodyPr spcFirstLastPara="1" wrap="square" lIns="68569" tIns="68569" rIns="68569" bIns="68569"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chemeClr val="dk2"/>
              </a:buClr>
              <a:buSzPts val="1000"/>
              <a:buFont typeface="Arial"/>
              <a:buNone/>
              <a:defRPr sz="1083" b="0"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83" b="0" i="0" u="none" strike="noStrike" cap="none">
                <a:solidFill>
                  <a:schemeClr val="dk2"/>
                </a:solidFill>
                <a:latin typeface="Arial"/>
                <a:ea typeface="Arial"/>
                <a:cs typeface="Arial"/>
                <a:sym typeface="Arial"/>
              </a:defRPr>
            </a:lvl9pPr>
          </a:lstStyle>
          <a:p>
            <a:fld id="{00000000-1234-1234-1234-123412341234}" type="slidenum">
              <a:rPr lang="en" sz="812" smtClean="0"/>
              <a:pPr/>
              <a:t>‹N°›</a:t>
            </a:fld>
            <a:endParaRPr lang="en" sz="812" dirty="0"/>
          </a:p>
        </p:txBody>
      </p:sp>
      <p:pic>
        <p:nvPicPr>
          <p:cNvPr id="62" name="Picture 61"/>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10909322" y="6343846"/>
            <a:ext cx="933012" cy="499167"/>
          </a:xfrm>
          <a:prstGeom prst="rect">
            <a:avLst/>
          </a:prstGeom>
        </p:spPr>
      </p:pic>
    </p:spTree>
    <p:extLst>
      <p:ext uri="{BB962C8B-B14F-4D97-AF65-F5344CB8AC3E}">
        <p14:creationId xmlns:p14="http://schemas.microsoft.com/office/powerpoint/2010/main" val="819853384"/>
      </p:ext>
    </p:extLst>
  </p:cSld>
  <p:clrMap bg1="lt1" tx1="dk1" bg2="lt2" tx2="dk2" accent1="accent1" accent2="accent2" accent3="accent3" accent4="accent4" accent5="accent5" accent6="accent6" hlink="hlink" folHlink="folHlink"/>
  <p:sldLayoutIdLst>
    <p:sldLayoutId id="2147483742" r:id="rId1"/>
    <p:sldLayoutId id="2147483743" r:id="rId2"/>
  </p:sldLayoutIdLst>
  <p:hf hdr="0" ftr="0" dt="0"/>
  <p:txStyles>
    <p:titleStyle>
      <a:lvl1pPr algn="l" defTabSz="684594" rtl="0" fontAlgn="base">
        <a:spcBef>
          <a:spcPct val="0"/>
        </a:spcBef>
        <a:spcAft>
          <a:spcPct val="0"/>
        </a:spcAft>
        <a:tabLst>
          <a:tab pos="205974" algn="l"/>
        </a:tabLst>
        <a:defRPr sz="1575" b="1">
          <a:solidFill>
            <a:schemeClr val="tx2"/>
          </a:solidFill>
          <a:latin typeface="+mj-lt"/>
          <a:ea typeface="+mj-ea"/>
          <a:cs typeface="+mj-cs"/>
        </a:defRPr>
      </a:lvl1pPr>
      <a:lvl2pPr algn="l" defTabSz="684594" rtl="0" fontAlgn="base">
        <a:spcBef>
          <a:spcPct val="0"/>
        </a:spcBef>
        <a:spcAft>
          <a:spcPct val="0"/>
        </a:spcAft>
        <a:tabLst>
          <a:tab pos="205974" algn="l"/>
        </a:tabLst>
        <a:defRPr sz="1575" b="1">
          <a:solidFill>
            <a:schemeClr val="tx2"/>
          </a:solidFill>
          <a:latin typeface="Verdana" panose="020B0604030504040204" pitchFamily="34" charset="0"/>
        </a:defRPr>
      </a:lvl2pPr>
      <a:lvl3pPr algn="l" defTabSz="684594" rtl="0" fontAlgn="base">
        <a:spcBef>
          <a:spcPct val="0"/>
        </a:spcBef>
        <a:spcAft>
          <a:spcPct val="0"/>
        </a:spcAft>
        <a:tabLst>
          <a:tab pos="205974" algn="l"/>
        </a:tabLst>
        <a:defRPr sz="1575" b="1">
          <a:solidFill>
            <a:schemeClr val="tx2"/>
          </a:solidFill>
          <a:latin typeface="Verdana" panose="020B0604030504040204" pitchFamily="34" charset="0"/>
        </a:defRPr>
      </a:lvl3pPr>
      <a:lvl4pPr algn="l" defTabSz="684594" rtl="0" fontAlgn="base">
        <a:spcBef>
          <a:spcPct val="0"/>
        </a:spcBef>
        <a:spcAft>
          <a:spcPct val="0"/>
        </a:spcAft>
        <a:tabLst>
          <a:tab pos="205974" algn="l"/>
        </a:tabLst>
        <a:defRPr sz="1575" b="1">
          <a:solidFill>
            <a:schemeClr val="tx2"/>
          </a:solidFill>
          <a:latin typeface="Verdana" panose="020B0604030504040204" pitchFamily="34" charset="0"/>
        </a:defRPr>
      </a:lvl4pPr>
      <a:lvl5pPr algn="l" defTabSz="684594" rtl="0" fontAlgn="base">
        <a:spcBef>
          <a:spcPct val="0"/>
        </a:spcBef>
        <a:spcAft>
          <a:spcPct val="0"/>
        </a:spcAft>
        <a:tabLst>
          <a:tab pos="205974" algn="l"/>
        </a:tabLst>
        <a:defRPr sz="1575" b="1">
          <a:solidFill>
            <a:schemeClr val="tx2"/>
          </a:solidFill>
          <a:latin typeface="Verdana" panose="020B0604030504040204" pitchFamily="34" charset="0"/>
        </a:defRPr>
      </a:lvl5pPr>
      <a:lvl6pPr marL="349853" algn="l" defTabSz="685128" rtl="0" eaLnBrk="1" fontAlgn="base" hangingPunct="1">
        <a:spcBef>
          <a:spcPct val="0"/>
        </a:spcBef>
        <a:spcAft>
          <a:spcPct val="0"/>
        </a:spcAft>
        <a:defRPr sz="1425" b="1">
          <a:solidFill>
            <a:schemeClr val="tx2"/>
          </a:solidFill>
          <a:latin typeface="Arial" charset="0"/>
        </a:defRPr>
      </a:lvl6pPr>
      <a:lvl7pPr marL="699705" algn="l" defTabSz="685128" rtl="0" eaLnBrk="1" fontAlgn="base" hangingPunct="1">
        <a:spcBef>
          <a:spcPct val="0"/>
        </a:spcBef>
        <a:spcAft>
          <a:spcPct val="0"/>
        </a:spcAft>
        <a:defRPr sz="1425" b="1">
          <a:solidFill>
            <a:schemeClr val="tx2"/>
          </a:solidFill>
          <a:latin typeface="Arial" charset="0"/>
        </a:defRPr>
      </a:lvl7pPr>
      <a:lvl8pPr marL="1049556" algn="l" defTabSz="685128" rtl="0" eaLnBrk="1" fontAlgn="base" hangingPunct="1">
        <a:spcBef>
          <a:spcPct val="0"/>
        </a:spcBef>
        <a:spcAft>
          <a:spcPct val="0"/>
        </a:spcAft>
        <a:defRPr sz="1425" b="1">
          <a:solidFill>
            <a:schemeClr val="tx2"/>
          </a:solidFill>
          <a:latin typeface="Arial" charset="0"/>
        </a:defRPr>
      </a:lvl8pPr>
      <a:lvl9pPr marL="1399409" algn="l" defTabSz="685128" rtl="0" eaLnBrk="1" fontAlgn="base" hangingPunct="1">
        <a:spcBef>
          <a:spcPct val="0"/>
        </a:spcBef>
        <a:spcAft>
          <a:spcPct val="0"/>
        </a:spcAft>
        <a:defRPr sz="1425" b="1">
          <a:solidFill>
            <a:schemeClr val="tx2"/>
          </a:solidFill>
          <a:latin typeface="Arial" charset="0"/>
        </a:defRPr>
      </a:lvl9pPr>
    </p:titleStyle>
    <p:bodyStyle>
      <a:lvl1pPr algn="l" defTabSz="684594" rtl="0" fontAlgn="base">
        <a:spcBef>
          <a:spcPct val="0"/>
        </a:spcBef>
        <a:spcAft>
          <a:spcPct val="0"/>
        </a:spcAft>
        <a:buClr>
          <a:schemeClr val="tx2"/>
        </a:buClr>
        <a:defRPr sz="1200">
          <a:solidFill>
            <a:schemeClr val="tx1"/>
          </a:solidFill>
          <a:latin typeface="+mn-lt"/>
          <a:ea typeface="+mn-ea"/>
          <a:cs typeface="+mn-cs"/>
        </a:defRPr>
      </a:lvl1pPr>
      <a:lvl2pPr marL="147635" indent="-146443" algn="l" defTabSz="684594" rtl="0" fontAlgn="base">
        <a:spcBef>
          <a:spcPct val="0"/>
        </a:spcBef>
        <a:spcAft>
          <a:spcPct val="0"/>
        </a:spcAft>
        <a:buClr>
          <a:srgbClr val="56AA1C"/>
        </a:buClr>
        <a:buSzPct val="125000"/>
        <a:buFont typeface="Arial" panose="020B0604020202020204" pitchFamily="34" charset="0"/>
        <a:buChar char="▪"/>
        <a:defRPr sz="1200">
          <a:solidFill>
            <a:schemeClr val="tx1"/>
          </a:solidFill>
          <a:latin typeface="+mn-lt"/>
        </a:defRPr>
      </a:lvl2pPr>
      <a:lvl3pPr marL="348846" indent="-200020" algn="l" defTabSz="684594" rtl="0" fontAlgn="base">
        <a:spcBef>
          <a:spcPct val="0"/>
        </a:spcBef>
        <a:spcAft>
          <a:spcPct val="0"/>
        </a:spcAft>
        <a:buClr>
          <a:srgbClr val="56AA1C"/>
        </a:buClr>
        <a:buSzPct val="120000"/>
        <a:buFont typeface="Arial" panose="020B0604020202020204" pitchFamily="34" charset="0"/>
        <a:buChar char="–"/>
        <a:defRPr sz="1200">
          <a:solidFill>
            <a:schemeClr val="tx1"/>
          </a:solidFill>
          <a:latin typeface="+mn-lt"/>
        </a:defRPr>
      </a:lvl3pPr>
      <a:lvl4pPr marL="469095" indent="-117869" algn="l" defTabSz="684594" rtl="0" fontAlgn="base">
        <a:spcBef>
          <a:spcPct val="0"/>
        </a:spcBef>
        <a:spcAft>
          <a:spcPct val="0"/>
        </a:spcAft>
        <a:buClr>
          <a:srgbClr val="56AA1C"/>
        </a:buClr>
        <a:buSzPct val="120000"/>
        <a:buFont typeface="Arial" panose="020B0604020202020204" pitchFamily="34" charset="0"/>
        <a:buChar char="▫"/>
        <a:defRPr sz="1200">
          <a:solidFill>
            <a:schemeClr val="tx1"/>
          </a:solidFill>
          <a:latin typeface="+mn-lt"/>
        </a:defRPr>
      </a:lvl4pPr>
      <a:lvl5pPr marL="572676" indent="-98820" algn="l" defTabSz="684594" rtl="0" fontAlgn="base">
        <a:spcBef>
          <a:spcPct val="0"/>
        </a:spcBef>
        <a:spcAft>
          <a:spcPct val="0"/>
        </a:spcAft>
        <a:buClr>
          <a:srgbClr val="56AA1C"/>
        </a:buClr>
        <a:buSzPct val="89000"/>
        <a:buFont typeface="Arial" panose="020B0604020202020204" pitchFamily="34" charset="0"/>
        <a:buChar char="-"/>
        <a:defRPr sz="1200">
          <a:solidFill>
            <a:schemeClr val="tx1"/>
          </a:solidFill>
          <a:latin typeface="+mn-lt"/>
        </a:defRPr>
      </a:lvl5pPr>
      <a:lvl6pPr marL="573758" indent="-99612"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58" indent="-99612"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58" indent="-99612"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58" indent="-99612"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05" rtl="0" eaLnBrk="1" latinLnBrk="0" hangingPunct="1">
        <a:defRPr sz="1351" kern="1200">
          <a:solidFill>
            <a:schemeClr val="tx1"/>
          </a:solidFill>
          <a:latin typeface="+mn-lt"/>
          <a:ea typeface="+mn-ea"/>
          <a:cs typeface="+mn-cs"/>
        </a:defRPr>
      </a:lvl1pPr>
      <a:lvl2pPr marL="349853" algn="l" defTabSz="699705" rtl="0" eaLnBrk="1" latinLnBrk="0" hangingPunct="1">
        <a:defRPr sz="1351" kern="1200">
          <a:solidFill>
            <a:schemeClr val="tx1"/>
          </a:solidFill>
          <a:latin typeface="+mn-lt"/>
          <a:ea typeface="+mn-ea"/>
          <a:cs typeface="+mn-cs"/>
        </a:defRPr>
      </a:lvl2pPr>
      <a:lvl3pPr marL="699705" algn="l" defTabSz="699705" rtl="0" eaLnBrk="1" latinLnBrk="0" hangingPunct="1">
        <a:defRPr sz="1351" kern="1200">
          <a:solidFill>
            <a:schemeClr val="tx1"/>
          </a:solidFill>
          <a:latin typeface="+mn-lt"/>
          <a:ea typeface="+mn-ea"/>
          <a:cs typeface="+mn-cs"/>
        </a:defRPr>
      </a:lvl3pPr>
      <a:lvl4pPr marL="1049556" algn="l" defTabSz="699705" rtl="0" eaLnBrk="1" latinLnBrk="0" hangingPunct="1">
        <a:defRPr sz="1351" kern="1200">
          <a:solidFill>
            <a:schemeClr val="tx1"/>
          </a:solidFill>
          <a:latin typeface="+mn-lt"/>
          <a:ea typeface="+mn-ea"/>
          <a:cs typeface="+mn-cs"/>
        </a:defRPr>
      </a:lvl4pPr>
      <a:lvl5pPr marL="1399409" algn="l" defTabSz="699705" rtl="0" eaLnBrk="1" latinLnBrk="0" hangingPunct="1">
        <a:defRPr sz="1351" kern="1200">
          <a:solidFill>
            <a:schemeClr val="tx1"/>
          </a:solidFill>
          <a:latin typeface="+mn-lt"/>
          <a:ea typeface="+mn-ea"/>
          <a:cs typeface="+mn-cs"/>
        </a:defRPr>
      </a:lvl5pPr>
      <a:lvl6pPr marL="1749262" algn="l" defTabSz="699705" rtl="0" eaLnBrk="1" latinLnBrk="0" hangingPunct="1">
        <a:defRPr sz="1351" kern="1200">
          <a:solidFill>
            <a:schemeClr val="tx1"/>
          </a:solidFill>
          <a:latin typeface="+mn-lt"/>
          <a:ea typeface="+mn-ea"/>
          <a:cs typeface="+mn-cs"/>
        </a:defRPr>
      </a:lvl6pPr>
      <a:lvl7pPr marL="2099113" algn="l" defTabSz="699705" rtl="0" eaLnBrk="1" latinLnBrk="0" hangingPunct="1">
        <a:defRPr sz="1351" kern="1200">
          <a:solidFill>
            <a:schemeClr val="tx1"/>
          </a:solidFill>
          <a:latin typeface="+mn-lt"/>
          <a:ea typeface="+mn-ea"/>
          <a:cs typeface="+mn-cs"/>
        </a:defRPr>
      </a:lvl7pPr>
      <a:lvl8pPr marL="2448965" algn="l" defTabSz="699705" rtl="0" eaLnBrk="1" latinLnBrk="0" hangingPunct="1">
        <a:defRPr sz="1351" kern="1200">
          <a:solidFill>
            <a:schemeClr val="tx1"/>
          </a:solidFill>
          <a:latin typeface="+mn-lt"/>
          <a:ea typeface="+mn-ea"/>
          <a:cs typeface="+mn-cs"/>
        </a:defRPr>
      </a:lvl8pPr>
      <a:lvl9pPr marL="2798817" algn="l" defTabSz="699705" rtl="0" eaLnBrk="1" latinLnBrk="0" hangingPunct="1">
        <a:defRPr sz="135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6016"/>
            <a:ext cx="12193200" cy="6882063"/>
          </a:xfrm>
          <a:prstGeom prst="rect">
            <a:avLst/>
          </a:prstGeom>
        </p:spPr>
      </p:pic>
      <p:sp>
        <p:nvSpPr>
          <p:cNvPr id="7" name="Rectangle 2"/>
          <p:cNvSpPr/>
          <p:nvPr userDrawn="1"/>
        </p:nvSpPr>
        <p:spPr>
          <a:xfrm>
            <a:off x="0" y="0"/>
            <a:ext cx="12192000" cy="6886456"/>
          </a:xfrm>
          <a:prstGeom prst="rect">
            <a:avLst/>
          </a:prstGeom>
          <a:solidFill>
            <a:srgbClr val="0076BF">
              <a:alpha val="75000"/>
            </a:srgbClr>
          </a:solidFill>
          <a:ln w="12700">
            <a:miter lim="400000"/>
          </a:ln>
        </p:spPr>
        <p:txBody>
          <a:bodyPr lIns="45719" rIns="45719" anchor="ctr"/>
          <a:lstStyle/>
          <a:p>
            <a:pPr algn="ctr">
              <a:defRPr>
                <a:solidFill>
                  <a:srgbClr val="FFFFFF"/>
                </a:solidFill>
              </a:defRPr>
            </a:pPr>
            <a:endParaRPr dirty="0"/>
          </a:p>
        </p:txBody>
      </p:sp>
      <p:sp>
        <p:nvSpPr>
          <p:cNvPr id="8" name="Espace réservé du titre 1"/>
          <p:cNvSpPr>
            <a:spLocks noGrp="1"/>
          </p:cNvSpPr>
          <p:nvPr>
            <p:ph type="title"/>
          </p:nvPr>
        </p:nvSpPr>
        <p:spPr>
          <a:xfrm>
            <a:off x="838200" y="2766218"/>
            <a:ext cx="10515600" cy="1325563"/>
          </a:xfrm>
          <a:prstGeom prst="rect">
            <a:avLst/>
          </a:prstGeom>
        </p:spPr>
        <p:txBody>
          <a:bodyPr vert="horz" lIns="91440" tIns="45720" rIns="91440" bIns="45720" rtlCol="0" anchor="ctr">
            <a:normAutofit/>
          </a:bodyPr>
          <a:lstStyle/>
          <a:p>
            <a:endParaRPr lang="fr-FR"/>
          </a:p>
        </p:txBody>
      </p:sp>
      <p:pic>
        <p:nvPicPr>
          <p:cNvPr id="9" name="Imag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843296" y="5407176"/>
            <a:ext cx="2049232" cy="1098431"/>
          </a:xfrm>
          <a:prstGeom prst="rect">
            <a:avLst/>
          </a:prstGeom>
        </p:spPr>
      </p:pic>
    </p:spTree>
    <p:extLst>
      <p:ext uri="{BB962C8B-B14F-4D97-AF65-F5344CB8AC3E}">
        <p14:creationId xmlns:p14="http://schemas.microsoft.com/office/powerpoint/2010/main" val="2321772729"/>
      </p:ext>
    </p:extLst>
  </p:cSld>
  <p:clrMap bg1="lt1" tx1="dk1" bg2="lt2" tx2="dk2" accent1="accent1" accent2="accent2" accent3="accent3" accent4="accent4" accent5="accent5" accent6="accent6" hlink="hlink" folHlink="folHlink"/>
  <p:sldLayoutIdLst>
    <p:sldLayoutId id="2147483778" r:id="rId1"/>
    <p:sldLayoutId id="2147483779" r:id="rId2"/>
  </p:sldLayoutIdLst>
  <p:txStyles>
    <p:titleStyle>
      <a:lvl1pPr algn="ctr" defTabSz="914400" rtl="0" eaLnBrk="1" latinLnBrk="0" hangingPunct="1">
        <a:lnSpc>
          <a:spcPct val="90000"/>
        </a:lnSpc>
        <a:spcBef>
          <a:spcPct val="0"/>
        </a:spcBef>
        <a:buNone/>
        <a:defRPr sz="40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65.xml"/><Relationship Id="rId6" Type="http://schemas.openxmlformats.org/officeDocument/2006/relationships/image" Target="../media/image53.png"/><Relationship Id="rId5" Type="http://schemas.openxmlformats.org/officeDocument/2006/relationships/image" Target="../media/image52.jpeg"/><Relationship Id="rId10" Type="http://schemas.openxmlformats.org/officeDocument/2006/relationships/image" Target="../media/image57.png"/><Relationship Id="rId4" Type="http://schemas.openxmlformats.org/officeDocument/2006/relationships/image" Target="../media/image51.jpeg"/><Relationship Id="rId9"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65.xml"/><Relationship Id="rId5" Type="http://schemas.openxmlformats.org/officeDocument/2006/relationships/image" Target="../media/image61.jpeg"/><Relationship Id="rId4" Type="http://schemas.openxmlformats.org/officeDocument/2006/relationships/image" Target="../media/image60.jpe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5.xml"/><Relationship Id="rId5" Type="http://schemas.openxmlformats.org/officeDocument/2006/relationships/image" Target="../media/image65.pn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5.xml"/><Relationship Id="rId4" Type="http://schemas.openxmlformats.org/officeDocument/2006/relationships/image" Target="../media/image6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sysco.rob1.fr/wp-content/uploads/2021/07/outils_fondteamscamion-scaled.jpg">
            <a:extLst>
              <a:ext uri="{FF2B5EF4-FFF2-40B4-BE49-F238E27FC236}">
                <a16:creationId xmlns:a16="http://schemas.microsoft.com/office/drawing/2014/main" id="{4652933D-68F7-485B-8C4F-0B07314C5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a:extLst>
              <a:ext uri="{FF2B5EF4-FFF2-40B4-BE49-F238E27FC236}">
                <a16:creationId xmlns:a16="http://schemas.microsoft.com/office/drawing/2014/main" id="{9A045AF5-0C78-4D8D-8EEA-74C7E617C410}"/>
              </a:ext>
            </a:extLst>
          </p:cNvPr>
          <p:cNvSpPr>
            <a:spLocks noGrp="1"/>
          </p:cNvSpPr>
          <p:nvPr>
            <p:ph type="title"/>
          </p:nvPr>
        </p:nvSpPr>
        <p:spPr>
          <a:xfrm>
            <a:off x="5257800" y="2505670"/>
            <a:ext cx="3521077" cy="1846659"/>
          </a:xfrm>
          <a:solidFill>
            <a:schemeClr val="bg1"/>
          </a:solidFill>
        </p:spPr>
        <p:txBody>
          <a:bodyPr anchor="ctr"/>
          <a:lstStyle/>
          <a:p>
            <a:pPr algn="ctr"/>
            <a:r>
              <a:rPr lang="fr-FR" sz="4000" kern="1200" dirty="0">
                <a:solidFill>
                  <a:schemeClr val="accent4"/>
                </a:solidFill>
                <a:latin typeface="Myriad Pro" panose="020B0503030403020204" pitchFamily="34" charset="0"/>
                <a:cs typeface="+mj-cs"/>
              </a:rPr>
              <a:t>Vos formations sécurité</a:t>
            </a:r>
          </a:p>
        </p:txBody>
      </p:sp>
      <p:pic>
        <p:nvPicPr>
          <p:cNvPr id="5" name="Image 4">
            <a:extLst>
              <a:ext uri="{FF2B5EF4-FFF2-40B4-BE49-F238E27FC236}">
                <a16:creationId xmlns:a16="http://schemas.microsoft.com/office/drawing/2014/main" id="{00000000-0008-0000-0500-00000F0000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13122" y="2349000"/>
            <a:ext cx="1936755" cy="2160000"/>
          </a:xfrm>
          <a:prstGeom prst="rect">
            <a:avLst/>
          </a:prstGeom>
        </p:spPr>
      </p:pic>
      <p:sp>
        <p:nvSpPr>
          <p:cNvPr id="7" name="Titre 4">
            <a:extLst>
              <a:ext uri="{FF2B5EF4-FFF2-40B4-BE49-F238E27FC236}">
                <a16:creationId xmlns:a16="http://schemas.microsoft.com/office/drawing/2014/main" id="{34E4D478-9515-42E1-B9FA-50868760208A}"/>
              </a:ext>
            </a:extLst>
          </p:cNvPr>
          <p:cNvSpPr txBox="1">
            <a:spLocks/>
          </p:cNvSpPr>
          <p:nvPr/>
        </p:nvSpPr>
        <p:spPr>
          <a:xfrm>
            <a:off x="5311778" y="2349000"/>
            <a:ext cx="3467100" cy="2160000"/>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100000"/>
              </a:lnSpc>
              <a:spcBef>
                <a:spcPts val="0"/>
              </a:spcBef>
              <a:spcAft>
                <a:spcPts val="600"/>
              </a:spcAft>
              <a:buNone/>
              <a:defRPr sz="4000" b="1" kern="1200">
                <a:solidFill>
                  <a:schemeClr val="accent4"/>
                </a:solidFill>
                <a:latin typeface="Myriad Pro" panose="020B0503030403020204" pitchFamily="34" charset="0"/>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fr-FR" dirty="0">
                <a:solidFill>
                  <a:srgbClr val="0D65EA"/>
                </a:solidFill>
              </a:rPr>
              <a:t>Vos formations sécurité</a:t>
            </a:r>
            <a:endParaRPr kumimoji="0" lang="fr-FR" sz="4000" b="1" i="0" u="none" strike="noStrike" kern="1200" cap="none" spc="0" normalizeH="0" baseline="0" noProof="0" dirty="0">
              <a:ln>
                <a:noFill/>
              </a:ln>
              <a:solidFill>
                <a:srgbClr val="0D65EA"/>
              </a:solidFill>
              <a:effectLst/>
              <a:uLnTx/>
              <a:uFillTx/>
              <a:latin typeface="Myriad Pro" panose="020B0503030403020204" pitchFamily="34" charset="0"/>
              <a:ea typeface="+mj-ea"/>
              <a:cs typeface="+mj-cs"/>
            </a:endParaRPr>
          </a:p>
        </p:txBody>
      </p:sp>
      <p:sp>
        <p:nvSpPr>
          <p:cNvPr id="6" name="Titre 1">
            <a:extLst>
              <a:ext uri="{FF2B5EF4-FFF2-40B4-BE49-F238E27FC236}">
                <a16:creationId xmlns:a16="http://schemas.microsoft.com/office/drawing/2014/main" id="{E9AF9067-8397-44B4-994F-934AF35EE8BF}"/>
              </a:ext>
            </a:extLst>
          </p:cNvPr>
          <p:cNvSpPr txBox="1">
            <a:spLocks/>
          </p:cNvSpPr>
          <p:nvPr/>
        </p:nvSpPr>
        <p:spPr>
          <a:xfrm>
            <a:off x="65988" y="6410227"/>
            <a:ext cx="2289927" cy="44777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000" b="1" kern="1200">
                <a:solidFill>
                  <a:schemeClr val="bg1"/>
                </a:solidFill>
                <a:latin typeface="Verdana" panose="020B0604030504040204" pitchFamily="34" charset="0"/>
                <a:ea typeface="Verdana" panose="020B0604030504040204" pitchFamily="34" charset="0"/>
                <a:cs typeface="+mj-cs"/>
              </a:defRPr>
            </a:lvl1pPr>
          </a:lstStyle>
          <a:p>
            <a:pPr algn="l"/>
            <a:r>
              <a:rPr lang="fr-FR" sz="800" b="0" dirty="0">
                <a:latin typeface="Arial" panose="020B0604020202020204" pitchFamily="34" charset="0"/>
                <a:cs typeface="Arial" panose="020B0604020202020204" pitchFamily="34" charset="0"/>
              </a:rPr>
              <a:t>Mise à jour : 12/2021</a:t>
            </a:r>
          </a:p>
          <a:p>
            <a:pPr algn="l"/>
            <a:r>
              <a:rPr lang="fr-FR" sz="800" b="0" dirty="0">
                <a:latin typeface="Arial" panose="020B0604020202020204" pitchFamily="34" charset="0"/>
                <a:cs typeface="Arial" panose="020B0604020202020204" pitchFamily="34" charset="0"/>
              </a:rPr>
              <a:t>Par Stéphane CLEMENT</a:t>
            </a:r>
          </a:p>
        </p:txBody>
      </p:sp>
    </p:spTree>
    <p:extLst>
      <p:ext uri="{BB962C8B-B14F-4D97-AF65-F5344CB8AC3E}">
        <p14:creationId xmlns:p14="http://schemas.microsoft.com/office/powerpoint/2010/main" val="1028003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FCBE2B5-D3A9-4FCC-B861-1B957BB7DF35}"/>
              </a:ext>
            </a:extLst>
          </p:cNvPr>
          <p:cNvSpPr>
            <a:spLocks noGrp="1"/>
          </p:cNvSpPr>
          <p:nvPr>
            <p:ph type="sldNum" sz="quarter" idx="14"/>
          </p:nvPr>
        </p:nvSpPr>
        <p:spPr/>
        <p:txBody>
          <a:bodyPr/>
          <a:lstStyle/>
          <a:p>
            <a:fld id="{682AF141-3515-6B43-B29D-C3CB43CA3F9D}" type="slidenum">
              <a:rPr lang="en-US" altLang="en-US" smtClean="0"/>
              <a:pPr/>
              <a:t>2</a:t>
            </a:fld>
            <a:endParaRPr lang="en-US" altLang="en-US" dirty="0"/>
          </a:p>
        </p:txBody>
      </p:sp>
      <p:sp>
        <p:nvSpPr>
          <p:cNvPr id="4" name="Espace réservé du texte 3">
            <a:extLst>
              <a:ext uri="{FF2B5EF4-FFF2-40B4-BE49-F238E27FC236}">
                <a16:creationId xmlns:a16="http://schemas.microsoft.com/office/drawing/2014/main" id="{1B73E9FD-9E18-49BA-9996-8AEC94F69A03}"/>
              </a:ext>
            </a:extLst>
          </p:cNvPr>
          <p:cNvSpPr>
            <a:spLocks noGrp="1"/>
          </p:cNvSpPr>
          <p:nvPr>
            <p:ph type="body" sz="quarter" idx="13"/>
          </p:nvPr>
        </p:nvSpPr>
        <p:spPr>
          <a:xfrm>
            <a:off x="348850" y="1848170"/>
            <a:ext cx="11614550" cy="4705030"/>
          </a:xfrm>
        </p:spPr>
        <p:txBody>
          <a:bodyPr>
            <a:normAutofit fontScale="92500" lnSpcReduction="10000"/>
          </a:bodyPr>
          <a:lstStyle/>
          <a:p>
            <a:r>
              <a:rPr lang="fr-FR" dirty="0"/>
              <a:t>L’employeur doit donner aux travailleurs « les instructions appropriées ».</a:t>
            </a:r>
          </a:p>
          <a:p>
            <a:r>
              <a:rPr lang="fr-FR" dirty="0"/>
              <a:t>Dans le cadre de l’obligation de sécurité qui lui incombe, l’employeur est donc tenu de mettre en œuvre des actions d’information et de formation au bénéfice des travailleurs afin qu’ils connaissent les risques et les mesures de prévention appropriées.</a:t>
            </a:r>
          </a:p>
          <a:p>
            <a:pPr algn="r"/>
            <a:r>
              <a:rPr lang="fr-FR" i="1" dirty="0"/>
              <a:t>Article L4121-1 et L4121-2 du Code du travail</a:t>
            </a:r>
          </a:p>
          <a:p>
            <a:endParaRPr lang="fr-FR" dirty="0"/>
          </a:p>
          <a:p>
            <a:endParaRPr lang="fr-FR" dirty="0"/>
          </a:p>
          <a:p>
            <a:endParaRPr lang="fr-FR" dirty="0"/>
          </a:p>
          <a:p>
            <a:endParaRPr lang="fr-FR" dirty="0"/>
          </a:p>
          <a:p>
            <a:r>
              <a:rPr lang="fr-FR" dirty="0"/>
              <a:t>- Assurer le suivi du déploiement des plans de formation sécurité individuels et collectifs permettant d'assurer la conformité réglementaire,</a:t>
            </a:r>
          </a:p>
          <a:p>
            <a:r>
              <a:rPr lang="fr-FR" dirty="0"/>
              <a:t>- Elaborer le contenu des formations sécurité interne : conception du contenu pédagogique, élaboration et mise à jour des supports de formation, …,</a:t>
            </a:r>
          </a:p>
          <a:p>
            <a:r>
              <a:rPr lang="fr-FR" dirty="0"/>
              <a:t>- Organiser des sessions de formation en respectant les procédures (durée, effectif minimal, ...),</a:t>
            </a:r>
          </a:p>
          <a:p>
            <a:r>
              <a:rPr lang="fr-FR" dirty="0"/>
              <a:t>- Animer des sessions de formation sur les différents sites du périmètre, </a:t>
            </a:r>
          </a:p>
          <a:p>
            <a:r>
              <a:rPr lang="fr-FR" dirty="0"/>
              <a:t>- Garantir la traçabilité et la conformité des actions de formation sécurité réalisées en lien avec la gestion administrative des formations (convocations, feuilles d’émargement, …).</a:t>
            </a:r>
          </a:p>
        </p:txBody>
      </p:sp>
      <p:sp>
        <p:nvSpPr>
          <p:cNvPr id="5" name="Titre 4">
            <a:extLst>
              <a:ext uri="{FF2B5EF4-FFF2-40B4-BE49-F238E27FC236}">
                <a16:creationId xmlns:a16="http://schemas.microsoft.com/office/drawing/2014/main" id="{043F479F-E905-4D1A-A770-212A43FF8B5E}"/>
              </a:ext>
            </a:extLst>
          </p:cNvPr>
          <p:cNvSpPr>
            <a:spLocks noGrp="1"/>
          </p:cNvSpPr>
          <p:nvPr>
            <p:ph type="title"/>
          </p:nvPr>
        </p:nvSpPr>
        <p:spPr/>
        <p:txBody>
          <a:bodyPr/>
          <a:lstStyle/>
          <a:p>
            <a:r>
              <a:rPr lang="fr-FR" dirty="0"/>
              <a:t>Formations sécurité obligatoires</a:t>
            </a:r>
          </a:p>
        </p:txBody>
      </p:sp>
      <p:sp>
        <p:nvSpPr>
          <p:cNvPr id="7" name="Espace réservé du texte 6">
            <a:extLst>
              <a:ext uri="{FF2B5EF4-FFF2-40B4-BE49-F238E27FC236}">
                <a16:creationId xmlns:a16="http://schemas.microsoft.com/office/drawing/2014/main" id="{3183AEE2-2FE1-4011-ACF3-92913A8842ED}"/>
              </a:ext>
            </a:extLst>
          </p:cNvPr>
          <p:cNvSpPr>
            <a:spLocks noGrp="1"/>
          </p:cNvSpPr>
          <p:nvPr>
            <p:ph type="body" sz="quarter" idx="11"/>
          </p:nvPr>
        </p:nvSpPr>
        <p:spPr>
          <a:xfrm>
            <a:off x="335971" y="1309177"/>
            <a:ext cx="11475029" cy="538993"/>
          </a:xfrm>
        </p:spPr>
        <p:txBody>
          <a:bodyPr/>
          <a:lstStyle/>
          <a:p>
            <a:r>
              <a:rPr lang="fr-FR" u="sng" dirty="0"/>
              <a:t>Rappel réglementaire :</a:t>
            </a:r>
          </a:p>
        </p:txBody>
      </p:sp>
      <p:sp>
        <p:nvSpPr>
          <p:cNvPr id="11" name="Espace réservé du texte 6">
            <a:extLst>
              <a:ext uri="{FF2B5EF4-FFF2-40B4-BE49-F238E27FC236}">
                <a16:creationId xmlns:a16="http://schemas.microsoft.com/office/drawing/2014/main" id="{38CC4A61-ECF5-4137-8A5C-654910086DBE}"/>
              </a:ext>
            </a:extLst>
          </p:cNvPr>
          <p:cNvSpPr txBox="1">
            <a:spLocks/>
          </p:cNvSpPr>
          <p:nvPr/>
        </p:nvSpPr>
        <p:spPr>
          <a:xfrm>
            <a:off x="335971" y="3652007"/>
            <a:ext cx="11475029" cy="538993"/>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b="1" kern="1200" spc="300">
                <a:solidFill>
                  <a:schemeClr val="bg1"/>
                </a:solidFill>
                <a:latin typeface="Myriad Pro" panose="020B0503030403020204" pitchFamily="34" charset="0"/>
                <a:ea typeface="+mn-ea"/>
                <a:cs typeface="+mn-cs"/>
              </a:defRPr>
            </a:lvl1pPr>
            <a:lvl2pPr marL="457200" indent="0" algn="l" defTabSz="914400" rtl="0" eaLnBrk="1" latinLnBrk="0" hangingPunct="1">
              <a:lnSpc>
                <a:spcPct val="100000"/>
              </a:lnSpc>
              <a:spcBef>
                <a:spcPts val="0"/>
              </a:spcBef>
              <a:spcAft>
                <a:spcPts val="600"/>
              </a:spcAft>
              <a:buFont typeface="Arial" panose="020B0604020202020204" pitchFamily="34" charset="0"/>
              <a:buNone/>
              <a:defRPr sz="2000" b="1" kern="1200">
                <a:solidFill>
                  <a:schemeClr val="bg1"/>
                </a:solidFill>
                <a:latin typeface="Myriad Pro" panose="020B0503030403020204" pitchFamily="34" charset="0"/>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2000" b="1" kern="1200">
                <a:solidFill>
                  <a:schemeClr val="bg1"/>
                </a:solidFill>
                <a:latin typeface="Myriad Pro" panose="020B0503030403020204" pitchFamily="34" charset="0"/>
                <a:ea typeface="+mn-ea"/>
                <a:cs typeface="+mn-cs"/>
              </a:defRPr>
            </a:lvl3pPr>
            <a:lvl4pPr marL="13716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kern="1200">
                <a:solidFill>
                  <a:schemeClr val="bg1"/>
                </a:solidFill>
                <a:latin typeface="Myriad Pro" panose="020B0503030403020204" pitchFamily="34" charset="0"/>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2000" b="1" kern="1200">
                <a:solidFill>
                  <a:schemeClr val="bg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fr-FR" u="sng" dirty="0">
                <a:solidFill>
                  <a:prstClr val="black"/>
                </a:solidFill>
                <a:latin typeface="Myriad Pro" panose="020B0503030403020204"/>
              </a:rPr>
              <a:t>Le service prévention des risques professionnels vous accompagne pour :</a:t>
            </a:r>
          </a:p>
        </p:txBody>
      </p:sp>
    </p:spTree>
    <p:extLst>
      <p:ext uri="{BB962C8B-B14F-4D97-AF65-F5344CB8AC3E}">
        <p14:creationId xmlns:p14="http://schemas.microsoft.com/office/powerpoint/2010/main" val="18231144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9062F66-ACB9-46AA-8304-7C6B7AC4206B}"/>
              </a:ext>
            </a:extLst>
          </p:cNvPr>
          <p:cNvSpPr>
            <a:spLocks noGrp="1"/>
          </p:cNvSpPr>
          <p:nvPr>
            <p:ph type="sldNum" sz="quarter" idx="14"/>
          </p:nvPr>
        </p:nvSpPr>
        <p:spPr/>
        <p:txBody>
          <a:bodyPr/>
          <a:lstStyle/>
          <a:p>
            <a:fld id="{682AF141-3515-6B43-B29D-C3CB43CA3F9D}" type="slidenum">
              <a:rPr lang="en-US" altLang="en-US" smtClean="0"/>
              <a:pPr/>
              <a:t>3</a:t>
            </a:fld>
            <a:endParaRPr lang="en-US" altLang="en-US" dirty="0"/>
          </a:p>
        </p:txBody>
      </p:sp>
      <p:sp>
        <p:nvSpPr>
          <p:cNvPr id="3" name="Espace réservé du texte 2">
            <a:extLst>
              <a:ext uri="{FF2B5EF4-FFF2-40B4-BE49-F238E27FC236}">
                <a16:creationId xmlns:a16="http://schemas.microsoft.com/office/drawing/2014/main" id="{15E9F919-A0F1-4229-985C-55D00A2CB036}"/>
              </a:ext>
            </a:extLst>
          </p:cNvPr>
          <p:cNvSpPr>
            <a:spLocks noGrp="1"/>
          </p:cNvSpPr>
          <p:nvPr>
            <p:ph type="body" sz="quarter" idx="11"/>
          </p:nvPr>
        </p:nvSpPr>
        <p:spPr/>
        <p:txBody>
          <a:bodyPr/>
          <a:lstStyle/>
          <a:p>
            <a:pPr algn="ctr"/>
            <a:r>
              <a:rPr lang="fr-FR" dirty="0"/>
              <a:t>Un service prévention décentralisé et au plus près des équipes</a:t>
            </a:r>
          </a:p>
        </p:txBody>
      </p:sp>
      <p:pic>
        <p:nvPicPr>
          <p:cNvPr id="207" name="Image 206">
            <a:extLst>
              <a:ext uri="{FF2B5EF4-FFF2-40B4-BE49-F238E27FC236}">
                <a16:creationId xmlns:a16="http://schemas.microsoft.com/office/drawing/2014/main" id="{47EC17F8-7B3A-4E6F-ABFF-A1A1EC6B04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70638" y="2292090"/>
            <a:ext cx="4250723" cy="3960000"/>
          </a:xfrm>
          <a:prstGeom prst="rect">
            <a:avLst/>
          </a:prstGeom>
        </p:spPr>
      </p:pic>
      <p:sp>
        <p:nvSpPr>
          <p:cNvPr id="5" name="Titre 4">
            <a:extLst>
              <a:ext uri="{FF2B5EF4-FFF2-40B4-BE49-F238E27FC236}">
                <a16:creationId xmlns:a16="http://schemas.microsoft.com/office/drawing/2014/main" id="{897FB9B9-F664-49B6-82B1-66521C9097AC}"/>
              </a:ext>
            </a:extLst>
          </p:cNvPr>
          <p:cNvSpPr>
            <a:spLocks noGrp="1"/>
          </p:cNvSpPr>
          <p:nvPr>
            <p:ph type="title"/>
          </p:nvPr>
        </p:nvSpPr>
        <p:spPr/>
        <p:txBody>
          <a:bodyPr/>
          <a:lstStyle/>
          <a:p>
            <a:r>
              <a:rPr lang="fr-FR" dirty="0"/>
              <a:t>Vos interlocuteurs</a:t>
            </a:r>
          </a:p>
        </p:txBody>
      </p:sp>
      <p:sp>
        <p:nvSpPr>
          <p:cNvPr id="209" name="Text Box 5" descr="noir)">
            <a:extLst>
              <a:ext uri="{FF2B5EF4-FFF2-40B4-BE49-F238E27FC236}">
                <a16:creationId xmlns:a16="http://schemas.microsoft.com/office/drawing/2014/main" id="{6AAD7D8F-AB73-45F2-9741-BF815F5D16EC}"/>
              </a:ext>
            </a:extLst>
          </p:cNvPr>
          <p:cNvSpPr txBox="1">
            <a:spLocks noChangeArrowheads="1"/>
          </p:cNvSpPr>
          <p:nvPr/>
        </p:nvSpPr>
        <p:spPr bwMode="auto">
          <a:xfrm>
            <a:off x="914400" y="2464338"/>
            <a:ext cx="2667000" cy="461665"/>
          </a:xfrm>
          <a:prstGeom prst="rect">
            <a:avLst/>
          </a:prstGeom>
          <a:solidFill>
            <a:schemeClr val="tx2">
              <a:lumMod val="90000"/>
            </a:schemeClr>
          </a:solidFill>
          <a:ln w="19050">
            <a:solidFill>
              <a:schemeClr val="tx2">
                <a:lumMod val="50000"/>
              </a:schemeClr>
            </a:solidFill>
            <a:miter lim="800000"/>
            <a:headEnd/>
            <a:tailEnd/>
          </a:ln>
          <a:effectLst/>
        </p:spPr>
        <p:txBody>
          <a:bodyPr wrap="square" lIns="0" rIns="0">
            <a:spAutoFit/>
          </a:bodyPr>
          <a:lstStyle>
            <a:lvl1pPr>
              <a:spcBef>
                <a:spcPct val="20000"/>
              </a:spcBef>
              <a:buChar char="•"/>
              <a:defRPr sz="2800">
                <a:solidFill>
                  <a:schemeClr val="tx1"/>
                </a:solidFill>
                <a:latin typeface="Arial Narrow" panose="020B0606020202030204" pitchFamily="34" charset="0"/>
              </a:defRPr>
            </a:lvl1pPr>
            <a:lvl2pPr marL="742950" indent="-285750">
              <a:spcBef>
                <a:spcPct val="20000"/>
              </a:spcBef>
              <a:buChar char="–"/>
              <a:defRPr sz="2800">
                <a:solidFill>
                  <a:schemeClr val="tx1"/>
                </a:solidFill>
                <a:latin typeface="Arial Narrow" panose="020B0606020202030204" pitchFamily="34" charset="0"/>
              </a:defRPr>
            </a:lvl2pPr>
            <a:lvl3pPr marL="1143000" indent="-228600">
              <a:spcBef>
                <a:spcPct val="20000"/>
              </a:spcBef>
              <a:buChar char="•"/>
              <a:defRPr sz="2800">
                <a:solidFill>
                  <a:schemeClr val="tx1"/>
                </a:solidFill>
                <a:latin typeface="Arial Narrow" panose="020B0606020202030204" pitchFamily="34" charset="0"/>
              </a:defRPr>
            </a:lvl3pPr>
            <a:lvl4pPr marL="1600200" indent="-228600">
              <a:spcBef>
                <a:spcPct val="20000"/>
              </a:spcBef>
              <a:buChar char="–"/>
              <a:defRPr sz="2800">
                <a:solidFill>
                  <a:schemeClr val="tx1"/>
                </a:solidFill>
                <a:latin typeface="Arial Narrow" panose="020B0606020202030204" pitchFamily="34" charset="0"/>
              </a:defRPr>
            </a:lvl4pPr>
            <a:lvl5pPr marL="2057400" indent="-228600">
              <a:spcBef>
                <a:spcPct val="20000"/>
              </a:spcBef>
              <a:buChar char="»"/>
              <a:defRPr sz="2800">
                <a:solidFill>
                  <a:schemeClr val="tx1"/>
                </a:solidFill>
                <a:latin typeface="Arial Narrow" panose="020B0606020202030204" pitchFamily="34" charset="0"/>
              </a:defRPr>
            </a:lvl5pPr>
            <a:lvl6pPr marL="2514600" indent="-228600" eaLnBrk="0" fontAlgn="base" hangingPunct="0">
              <a:spcBef>
                <a:spcPct val="20000"/>
              </a:spcBef>
              <a:spcAft>
                <a:spcPct val="0"/>
              </a:spcAft>
              <a:buChar char="»"/>
              <a:defRPr sz="2800">
                <a:solidFill>
                  <a:schemeClr val="tx1"/>
                </a:solidFill>
                <a:latin typeface="Arial Narrow" panose="020B0606020202030204" pitchFamily="34" charset="0"/>
              </a:defRPr>
            </a:lvl6pPr>
            <a:lvl7pPr marL="2971800" indent="-228600" eaLnBrk="0" fontAlgn="base" hangingPunct="0">
              <a:spcBef>
                <a:spcPct val="20000"/>
              </a:spcBef>
              <a:spcAft>
                <a:spcPct val="0"/>
              </a:spcAft>
              <a:buChar char="»"/>
              <a:defRPr sz="2800">
                <a:solidFill>
                  <a:schemeClr val="tx1"/>
                </a:solidFill>
                <a:latin typeface="Arial Narrow" panose="020B0606020202030204" pitchFamily="34" charset="0"/>
              </a:defRPr>
            </a:lvl7pPr>
            <a:lvl8pPr marL="3429000" indent="-228600" eaLnBrk="0" fontAlgn="base" hangingPunct="0">
              <a:spcBef>
                <a:spcPct val="20000"/>
              </a:spcBef>
              <a:spcAft>
                <a:spcPct val="0"/>
              </a:spcAft>
              <a:buChar char="»"/>
              <a:defRPr sz="2800">
                <a:solidFill>
                  <a:schemeClr val="tx1"/>
                </a:solidFill>
                <a:latin typeface="Arial Narrow" panose="020B0606020202030204" pitchFamily="34" charset="0"/>
              </a:defRPr>
            </a:lvl8pPr>
            <a:lvl9pPr marL="3886200" indent="-228600" eaLnBrk="0" fontAlgn="base" hangingPunct="0">
              <a:spcBef>
                <a:spcPct val="20000"/>
              </a:spcBef>
              <a:spcAft>
                <a:spcPct val="0"/>
              </a:spcAft>
              <a:buChar char="»"/>
              <a:defRPr sz="2800">
                <a:solidFill>
                  <a:schemeClr val="tx1"/>
                </a:solidFill>
                <a:latin typeface="Arial Narrow" panose="020B0606020202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lang="fr-FR" altLang="fr-FR" sz="1200" kern="0" dirty="0">
                <a:solidFill>
                  <a:srgbClr val="000000"/>
                </a:solidFill>
                <a:latin typeface="Myriad Pro" panose="020B0503030403020204"/>
              </a:rPr>
              <a:t>Responsable prévention national</a:t>
            </a:r>
          </a:p>
          <a:p>
            <a:pPr marL="0" marR="0" lvl="0" indent="0" algn="r" defTabSz="914400" rtl="0" eaLnBrk="0" fontAlgn="base" latinLnBrk="0" hangingPunct="0">
              <a:lnSpc>
                <a:spcPct val="100000"/>
              </a:lnSpc>
              <a:spcBef>
                <a:spcPct val="0"/>
              </a:spcBef>
              <a:spcAft>
                <a:spcPct val="0"/>
              </a:spcAft>
              <a:buClrTx/>
              <a:buSzTx/>
              <a:buFontTx/>
              <a:buNone/>
              <a:tabLst/>
              <a:defRPr/>
            </a:pPr>
            <a:r>
              <a:rPr lang="fr-FR" altLang="fr-FR" sz="1200" b="1" kern="0" dirty="0">
                <a:solidFill>
                  <a:srgbClr val="000000"/>
                </a:solidFill>
                <a:latin typeface="Myriad Pro" panose="020B0503030403020204"/>
              </a:rPr>
              <a:t>Linda TABET</a:t>
            </a:r>
          </a:p>
        </p:txBody>
      </p:sp>
      <p:pic>
        <p:nvPicPr>
          <p:cNvPr id="208" name="Picture 2" descr="NATIONAL">
            <a:extLst>
              <a:ext uri="{FF2B5EF4-FFF2-40B4-BE49-F238E27FC236}">
                <a16:creationId xmlns:a16="http://schemas.microsoft.com/office/drawing/2014/main" id="{1687E616-12F9-4F34-83EF-3088F9756C7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0" y="2083338"/>
            <a:ext cx="900000" cy="900000"/>
          </a:xfrm>
          <a:prstGeom prst="rect">
            <a:avLst/>
          </a:prstGeom>
          <a:noFill/>
          <a:extLst>
            <a:ext uri="{909E8E84-426E-40DD-AFC4-6F175D3DCCD1}">
              <a14:hiddenFill xmlns:a14="http://schemas.microsoft.com/office/drawing/2010/main">
                <a:solidFill>
                  <a:srgbClr val="FFFFFF"/>
                </a:solidFill>
              </a14:hiddenFill>
            </a:ext>
          </a:extLst>
        </p:spPr>
      </p:pic>
      <p:sp>
        <p:nvSpPr>
          <p:cNvPr id="212" name="Rectangle 211">
            <a:extLst>
              <a:ext uri="{FF2B5EF4-FFF2-40B4-BE49-F238E27FC236}">
                <a16:creationId xmlns:a16="http://schemas.microsoft.com/office/drawing/2014/main" id="{C7D38976-D12E-47C8-A013-7EB959643603}"/>
              </a:ext>
            </a:extLst>
          </p:cNvPr>
          <p:cNvSpPr/>
          <p:nvPr/>
        </p:nvSpPr>
        <p:spPr bwMode="auto">
          <a:xfrm>
            <a:off x="1142999" y="3264189"/>
            <a:ext cx="2438400" cy="2823090"/>
          </a:xfrm>
          <a:prstGeom prst="rect">
            <a:avLst/>
          </a:prstGeom>
          <a:solidFill>
            <a:srgbClr val="92D050"/>
          </a:solidFill>
          <a:ln w="9525" cap="flat" cmpd="sng" algn="ctr">
            <a:solidFill>
              <a:srgbClr val="00B050"/>
            </a:solid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400" i="0" u="sng" strike="noStrike" kern="0" cap="none" spc="0" normalizeH="0" baseline="0" noProof="0" dirty="0">
                <a:ln>
                  <a:noFill/>
                </a:ln>
                <a:solidFill>
                  <a:srgbClr val="FEFFFF"/>
                </a:solidFill>
                <a:effectLst/>
                <a:uLnTx/>
                <a:uFillTx/>
                <a:latin typeface="Myriad Pro" panose="020B0503030403020204"/>
                <a:ea typeface="+mn-ea"/>
                <a:cs typeface="+mn-cs"/>
              </a:rPr>
              <a:t>Vos formateurs sécurité</a:t>
            </a: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4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4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4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4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4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FEFFFF"/>
                </a:solidFill>
                <a:effectLst/>
                <a:uLnTx/>
                <a:uFillTx/>
                <a:latin typeface="Myriad Pro" panose="020B0503030403020204"/>
                <a:ea typeface="+mn-ea"/>
                <a:cs typeface="+mn-cs"/>
              </a:rPr>
              <a:t>Stéphane CLEMENT</a:t>
            </a: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fr-FR" sz="1200" b="1" kern="0" dirty="0">
              <a:solidFill>
                <a:srgbClr val="FEFFFF"/>
              </a:solidFill>
              <a:latin typeface="Myriad Pro" panose="020B0503030403020204"/>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FEFFFF"/>
                </a:solidFill>
                <a:effectLst/>
                <a:uLnTx/>
                <a:uFillTx/>
                <a:latin typeface="Myriad Pro" panose="020B0503030403020204"/>
                <a:ea typeface="+mn-ea"/>
                <a:cs typeface="+mn-cs"/>
              </a:rPr>
              <a:t>Christophe AUGER</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dirty="0">
              <a:ln>
                <a:noFill/>
              </a:ln>
              <a:solidFill>
                <a:srgbClr val="FEFFFF"/>
              </a:solidFill>
              <a:effectLst/>
              <a:uLnTx/>
              <a:uFillTx/>
              <a:latin typeface="Myriad Pro" panose="020B0503030403020204"/>
              <a:ea typeface="+mn-ea"/>
              <a:cs typeface="+mn-cs"/>
            </a:endParaRPr>
          </a:p>
        </p:txBody>
      </p:sp>
      <p:pic>
        <p:nvPicPr>
          <p:cNvPr id="213" name="Picture 2" descr="NORD">
            <a:extLst>
              <a:ext uri="{FF2B5EF4-FFF2-40B4-BE49-F238E27FC236}">
                <a16:creationId xmlns:a16="http://schemas.microsoft.com/office/drawing/2014/main" id="{90330C67-55ED-44EC-BE12-3CE3868DD30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24000" y="3668310"/>
            <a:ext cx="900000" cy="900000"/>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4" descr="SUD">
            <a:extLst>
              <a:ext uri="{FF2B5EF4-FFF2-40B4-BE49-F238E27FC236}">
                <a16:creationId xmlns:a16="http://schemas.microsoft.com/office/drawing/2014/main" id="{98CF9C53-067C-4800-894C-4AE49C3E0CD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24000" y="4942733"/>
            <a:ext cx="900000" cy="900000"/>
          </a:xfrm>
          <a:prstGeom prst="rect">
            <a:avLst/>
          </a:prstGeom>
          <a:noFill/>
          <a:extLst>
            <a:ext uri="{909E8E84-426E-40DD-AFC4-6F175D3DCCD1}">
              <a14:hiddenFill xmlns:a14="http://schemas.microsoft.com/office/drawing/2010/main">
                <a:solidFill>
                  <a:srgbClr val="FFFFFF"/>
                </a:solidFill>
              </a14:hiddenFill>
            </a:ext>
          </a:extLst>
        </p:spPr>
      </p:pic>
      <p:pic>
        <p:nvPicPr>
          <p:cNvPr id="225" name="Image 224">
            <a:extLst>
              <a:ext uri="{FF2B5EF4-FFF2-40B4-BE49-F238E27FC236}">
                <a16:creationId xmlns:a16="http://schemas.microsoft.com/office/drawing/2014/main" id="{08E6D08A-716B-47A9-8919-3E398105F7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44198" y="5002727"/>
            <a:ext cx="731583" cy="859611"/>
          </a:xfrm>
          <a:prstGeom prst="rect">
            <a:avLst/>
          </a:prstGeom>
        </p:spPr>
      </p:pic>
      <p:pic>
        <p:nvPicPr>
          <p:cNvPr id="226" name="Image 225">
            <a:extLst>
              <a:ext uri="{FF2B5EF4-FFF2-40B4-BE49-F238E27FC236}">
                <a16:creationId xmlns:a16="http://schemas.microsoft.com/office/drawing/2014/main" id="{E0568393-FFCA-438A-93B0-25767454E46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544199" y="3634855"/>
            <a:ext cx="731583" cy="1005927"/>
          </a:xfrm>
          <a:prstGeom prst="rect">
            <a:avLst/>
          </a:prstGeom>
        </p:spPr>
      </p:pic>
      <p:sp>
        <p:nvSpPr>
          <p:cNvPr id="227" name="Rectangle 4">
            <a:extLst>
              <a:ext uri="{FF2B5EF4-FFF2-40B4-BE49-F238E27FC236}">
                <a16:creationId xmlns:a16="http://schemas.microsoft.com/office/drawing/2014/main" id="{971425A9-6977-415B-BC5F-C2666768CD40}"/>
              </a:ext>
            </a:extLst>
          </p:cNvPr>
          <p:cNvSpPr>
            <a:spLocks noChangeArrowheads="1"/>
          </p:cNvSpPr>
          <p:nvPr/>
        </p:nvSpPr>
        <p:spPr bwMode="auto">
          <a:xfrm>
            <a:off x="8610600" y="2004600"/>
            <a:ext cx="3102544" cy="4320000"/>
          </a:xfrm>
          <a:prstGeom prst="rect">
            <a:avLst/>
          </a:prstGeom>
          <a:solidFill>
            <a:srgbClr val="00B0F0"/>
          </a:solidFill>
          <a:ln w="9525" algn="ctr">
            <a:solidFill>
              <a:srgbClr val="0070C0"/>
            </a:solidFill>
            <a:round/>
            <a:headEnd/>
            <a:tailEnd/>
          </a:ln>
        </p:spPr>
        <p:txBody>
          <a:bodyPr/>
          <a:lstStyle>
            <a:lvl1pPr>
              <a:spcBef>
                <a:spcPct val="20000"/>
              </a:spcBef>
              <a:buChar char="•"/>
              <a:defRPr sz="2800">
                <a:solidFill>
                  <a:schemeClr val="tx1"/>
                </a:solidFill>
                <a:latin typeface="Arial Narrow" panose="020B0606020202030204" pitchFamily="34" charset="0"/>
              </a:defRPr>
            </a:lvl1pPr>
            <a:lvl2pPr marL="742950" indent="-285750">
              <a:spcBef>
                <a:spcPct val="20000"/>
              </a:spcBef>
              <a:buChar char="–"/>
              <a:defRPr sz="2800">
                <a:solidFill>
                  <a:schemeClr val="tx1"/>
                </a:solidFill>
                <a:latin typeface="Arial Narrow" panose="020B0606020202030204" pitchFamily="34" charset="0"/>
              </a:defRPr>
            </a:lvl2pPr>
            <a:lvl3pPr marL="1143000" indent="-228600">
              <a:spcBef>
                <a:spcPct val="20000"/>
              </a:spcBef>
              <a:buChar char="•"/>
              <a:defRPr sz="2800">
                <a:solidFill>
                  <a:schemeClr val="tx1"/>
                </a:solidFill>
                <a:latin typeface="Arial Narrow" panose="020B0606020202030204" pitchFamily="34" charset="0"/>
              </a:defRPr>
            </a:lvl3pPr>
            <a:lvl4pPr marL="1600200" indent="-228600">
              <a:spcBef>
                <a:spcPct val="20000"/>
              </a:spcBef>
              <a:buChar char="–"/>
              <a:defRPr sz="2800">
                <a:solidFill>
                  <a:schemeClr val="tx1"/>
                </a:solidFill>
                <a:latin typeface="Arial Narrow" panose="020B0606020202030204" pitchFamily="34" charset="0"/>
              </a:defRPr>
            </a:lvl4pPr>
            <a:lvl5pPr marL="2057400" indent="-228600">
              <a:spcBef>
                <a:spcPct val="20000"/>
              </a:spcBef>
              <a:buChar char="»"/>
              <a:defRPr sz="2800">
                <a:solidFill>
                  <a:schemeClr val="tx1"/>
                </a:solidFill>
                <a:latin typeface="Arial Narrow" panose="020B0606020202030204" pitchFamily="34" charset="0"/>
              </a:defRPr>
            </a:lvl5pPr>
            <a:lvl6pPr marL="2514600" indent="-228600" eaLnBrk="0" fontAlgn="base" hangingPunct="0">
              <a:spcBef>
                <a:spcPct val="20000"/>
              </a:spcBef>
              <a:spcAft>
                <a:spcPct val="0"/>
              </a:spcAft>
              <a:buChar char="»"/>
              <a:defRPr sz="2800">
                <a:solidFill>
                  <a:schemeClr val="tx1"/>
                </a:solidFill>
                <a:latin typeface="Arial Narrow" panose="020B0606020202030204" pitchFamily="34" charset="0"/>
              </a:defRPr>
            </a:lvl6pPr>
            <a:lvl7pPr marL="2971800" indent="-228600" eaLnBrk="0" fontAlgn="base" hangingPunct="0">
              <a:spcBef>
                <a:spcPct val="20000"/>
              </a:spcBef>
              <a:spcAft>
                <a:spcPct val="0"/>
              </a:spcAft>
              <a:buChar char="»"/>
              <a:defRPr sz="2800">
                <a:solidFill>
                  <a:schemeClr val="tx1"/>
                </a:solidFill>
                <a:latin typeface="Arial Narrow" panose="020B0606020202030204" pitchFamily="34" charset="0"/>
              </a:defRPr>
            </a:lvl7pPr>
            <a:lvl8pPr marL="3429000" indent="-228600" eaLnBrk="0" fontAlgn="base" hangingPunct="0">
              <a:spcBef>
                <a:spcPct val="20000"/>
              </a:spcBef>
              <a:spcAft>
                <a:spcPct val="0"/>
              </a:spcAft>
              <a:buChar char="»"/>
              <a:defRPr sz="2800">
                <a:solidFill>
                  <a:schemeClr val="tx1"/>
                </a:solidFill>
                <a:latin typeface="Arial Narrow" panose="020B0606020202030204" pitchFamily="34" charset="0"/>
              </a:defRPr>
            </a:lvl8pPr>
            <a:lvl9pPr marL="3886200" indent="-228600" eaLnBrk="0" fontAlgn="base" hangingPunct="0">
              <a:spcBef>
                <a:spcPct val="20000"/>
              </a:spcBef>
              <a:spcAft>
                <a:spcPct val="0"/>
              </a:spcAft>
              <a:buChar char="»"/>
              <a:defRPr sz="2800">
                <a:solidFill>
                  <a:schemeClr val="tx1"/>
                </a:solidFill>
                <a:latin typeface="Arial Narrow" panose="020B0606020202030204" pitchFamily="34" charset="0"/>
              </a:defRPr>
            </a:lvl9pPr>
          </a:lstStyle>
          <a:p>
            <a:pPr lvl="0" algn="ctr" eaLnBrk="0" fontAlgn="base" hangingPunct="0">
              <a:spcBef>
                <a:spcPct val="0"/>
              </a:spcBef>
              <a:spcAft>
                <a:spcPct val="0"/>
              </a:spcAft>
              <a:buNone/>
              <a:defRPr/>
            </a:pPr>
            <a:r>
              <a:rPr lang="fr-FR" sz="1400" u="sng" kern="0" dirty="0">
                <a:solidFill>
                  <a:srgbClr val="FEFFFF"/>
                </a:solidFill>
                <a:latin typeface="Myriad Pro" panose="020B0503030403020204"/>
              </a:rPr>
              <a:t>Vos préventeurs &amp; leurs alternants</a:t>
            </a: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u="sng" kern="0" dirty="0">
              <a:solidFill>
                <a:srgbClr val="FEFFFF"/>
              </a:solidFill>
              <a:latin typeface="Myriad Pro" panose="020B0503030403020204"/>
            </a:endParaRPr>
          </a:p>
          <a:p>
            <a:pPr lvl="0" algn="ctr" eaLnBrk="0" fontAlgn="base" hangingPunct="0">
              <a:spcBef>
                <a:spcPct val="0"/>
              </a:spcBef>
              <a:spcAft>
                <a:spcPct val="0"/>
              </a:spcAft>
              <a:buNone/>
              <a:defRPr/>
            </a:pPr>
            <a:r>
              <a:rPr lang="fr-FR" sz="1200" b="1" kern="0" dirty="0">
                <a:solidFill>
                  <a:srgbClr val="FEFFFF"/>
                </a:solidFill>
                <a:latin typeface="Myriad Pro" panose="020B0503030403020204"/>
              </a:rPr>
              <a:t>Nada ZOUITNI &amp; Nabil KHATIB</a:t>
            </a: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r>
              <a:rPr lang="fr-FR" sz="1200" b="1" kern="0" dirty="0">
                <a:solidFill>
                  <a:srgbClr val="FEFFFF"/>
                </a:solidFill>
                <a:latin typeface="Myriad Pro" panose="020B0503030403020204"/>
              </a:rPr>
              <a:t>Vincent BORIES &amp; Ophély RIEUVERGNET</a:t>
            </a: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endParaRPr lang="fr-FR" sz="800" b="1" kern="0" dirty="0">
              <a:solidFill>
                <a:srgbClr val="FEFFFF"/>
              </a:solidFill>
              <a:latin typeface="Myriad Pro" panose="020B0503030403020204"/>
            </a:endParaRPr>
          </a:p>
          <a:p>
            <a:pPr lvl="0" algn="ctr" eaLnBrk="0" fontAlgn="base" hangingPunct="0">
              <a:spcBef>
                <a:spcPct val="0"/>
              </a:spcBef>
              <a:spcAft>
                <a:spcPct val="0"/>
              </a:spcAft>
              <a:buNone/>
              <a:defRPr/>
            </a:pPr>
            <a:r>
              <a:rPr lang="fr-FR" sz="1200" b="1" kern="0" dirty="0">
                <a:solidFill>
                  <a:srgbClr val="FEFFFF"/>
                </a:solidFill>
                <a:latin typeface="Myriad Pro" panose="020B0503030403020204"/>
              </a:rPr>
              <a:t>Mathieu LECOCQ &amp; Damien LAMBIEZ</a:t>
            </a:r>
          </a:p>
        </p:txBody>
      </p:sp>
      <p:pic>
        <p:nvPicPr>
          <p:cNvPr id="234" name="Image 233">
            <a:extLst>
              <a:ext uri="{FF2B5EF4-FFF2-40B4-BE49-F238E27FC236}">
                <a16:creationId xmlns:a16="http://schemas.microsoft.com/office/drawing/2014/main" id="{0B5E4DCC-5C1D-4A7A-9FC4-DFED8A5D0F1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1683" y="2415884"/>
            <a:ext cx="2487384" cy="896190"/>
          </a:xfrm>
          <a:prstGeom prst="rect">
            <a:avLst/>
          </a:prstGeom>
        </p:spPr>
      </p:pic>
      <p:pic>
        <p:nvPicPr>
          <p:cNvPr id="240" name="Image 239">
            <a:extLst>
              <a:ext uri="{FF2B5EF4-FFF2-40B4-BE49-F238E27FC236}">
                <a16:creationId xmlns:a16="http://schemas.microsoft.com/office/drawing/2014/main" id="{CA51DCE0-2768-4636-8F11-D4258933CA3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84649" y="3723357"/>
            <a:ext cx="2554445" cy="896190"/>
          </a:xfrm>
          <a:prstGeom prst="rect">
            <a:avLst/>
          </a:prstGeom>
        </p:spPr>
      </p:pic>
      <p:pic>
        <p:nvPicPr>
          <p:cNvPr id="245" name="Image 244">
            <a:extLst>
              <a:ext uri="{FF2B5EF4-FFF2-40B4-BE49-F238E27FC236}">
                <a16:creationId xmlns:a16="http://schemas.microsoft.com/office/drawing/2014/main" id="{F5A40516-8B91-4433-989F-6E37B956622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929007" y="5032859"/>
            <a:ext cx="2572735" cy="932769"/>
          </a:xfrm>
          <a:prstGeom prst="rect">
            <a:avLst/>
          </a:prstGeom>
        </p:spPr>
      </p:pic>
    </p:spTree>
    <p:extLst>
      <p:ext uri="{BB962C8B-B14F-4D97-AF65-F5344CB8AC3E}">
        <p14:creationId xmlns:p14="http://schemas.microsoft.com/office/powerpoint/2010/main" val="412890036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FA298F6-7FFA-4FF4-843B-693BC3209959}"/>
              </a:ext>
            </a:extLst>
          </p:cNvPr>
          <p:cNvSpPr>
            <a:spLocks noGrp="1"/>
          </p:cNvSpPr>
          <p:nvPr>
            <p:ph type="sldNum" sz="quarter" idx="14"/>
          </p:nvPr>
        </p:nvSpPr>
        <p:spPr/>
        <p:txBody>
          <a:bodyPr/>
          <a:lstStyle/>
          <a:p>
            <a:fld id="{682AF141-3515-6B43-B29D-C3CB43CA3F9D}" type="slidenum">
              <a:rPr lang="en-US" altLang="en-US" smtClean="0"/>
              <a:pPr/>
              <a:t>4</a:t>
            </a:fld>
            <a:endParaRPr lang="en-US" altLang="en-US" dirty="0"/>
          </a:p>
        </p:txBody>
      </p:sp>
      <p:sp>
        <p:nvSpPr>
          <p:cNvPr id="3" name="Espace réservé du texte 2">
            <a:extLst>
              <a:ext uri="{FF2B5EF4-FFF2-40B4-BE49-F238E27FC236}">
                <a16:creationId xmlns:a16="http://schemas.microsoft.com/office/drawing/2014/main" id="{BAACF490-6647-40DD-892D-546A6DFC5114}"/>
              </a:ext>
            </a:extLst>
          </p:cNvPr>
          <p:cNvSpPr>
            <a:spLocks noGrp="1"/>
          </p:cNvSpPr>
          <p:nvPr>
            <p:ph type="body" sz="quarter" idx="11"/>
          </p:nvPr>
        </p:nvSpPr>
        <p:spPr/>
        <p:txBody>
          <a:bodyPr/>
          <a:lstStyle/>
          <a:p>
            <a:r>
              <a:rPr lang="fr-FR" dirty="0"/>
              <a:t>Planning à fin juin 2022:</a:t>
            </a:r>
          </a:p>
        </p:txBody>
      </p:sp>
      <p:sp>
        <p:nvSpPr>
          <p:cNvPr id="5" name="Titre 4">
            <a:extLst>
              <a:ext uri="{FF2B5EF4-FFF2-40B4-BE49-F238E27FC236}">
                <a16:creationId xmlns:a16="http://schemas.microsoft.com/office/drawing/2014/main" id="{9B3097CA-68E2-4C15-9581-FEC42B30E471}"/>
              </a:ext>
            </a:extLst>
          </p:cNvPr>
          <p:cNvSpPr>
            <a:spLocks noGrp="1"/>
          </p:cNvSpPr>
          <p:nvPr>
            <p:ph type="title"/>
          </p:nvPr>
        </p:nvSpPr>
        <p:spPr/>
        <p:txBody>
          <a:bodyPr/>
          <a:lstStyle/>
          <a:p>
            <a:r>
              <a:rPr lang="fr-FR" dirty="0"/>
              <a:t>Vos formations sécurité internes</a:t>
            </a:r>
          </a:p>
        </p:txBody>
      </p:sp>
      <p:pic>
        <p:nvPicPr>
          <p:cNvPr id="6" name="Image 5">
            <a:extLst>
              <a:ext uri="{FF2B5EF4-FFF2-40B4-BE49-F238E27FC236}">
                <a16:creationId xmlns:a16="http://schemas.microsoft.com/office/drawing/2014/main" id="{65434526-BF9E-4508-87F0-27F6081EDD9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03104" y="1371600"/>
            <a:ext cx="7560296" cy="4731026"/>
          </a:xfrm>
          <a:prstGeom prst="rect">
            <a:avLst/>
          </a:prstGeom>
          <a:ln>
            <a:noFill/>
          </a:ln>
        </p:spPr>
      </p:pic>
      <p:pic>
        <p:nvPicPr>
          <p:cNvPr id="8" name="Image 7">
            <a:extLst>
              <a:ext uri="{FF2B5EF4-FFF2-40B4-BE49-F238E27FC236}">
                <a16:creationId xmlns:a16="http://schemas.microsoft.com/office/drawing/2014/main" id="{C241F34E-57A5-4D2B-8226-6DADBD05A3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2247310" y="2310592"/>
            <a:ext cx="1920000" cy="1440000"/>
          </a:xfrm>
          <a:prstGeom prst="rect">
            <a:avLst/>
          </a:prstGeom>
          <a:ln w="31750">
            <a:solidFill>
              <a:schemeClr val="accent4"/>
            </a:solidFill>
          </a:ln>
        </p:spPr>
      </p:pic>
      <p:pic>
        <p:nvPicPr>
          <p:cNvPr id="12" name="Image 11">
            <a:extLst>
              <a:ext uri="{FF2B5EF4-FFF2-40B4-BE49-F238E27FC236}">
                <a16:creationId xmlns:a16="http://schemas.microsoft.com/office/drawing/2014/main" id="{09693EDC-B5D9-426C-B55C-53BD0DC6505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8760" y="2070592"/>
            <a:ext cx="1440000" cy="1920000"/>
          </a:xfrm>
          <a:prstGeom prst="rect">
            <a:avLst/>
          </a:prstGeom>
          <a:ln w="31750">
            <a:solidFill>
              <a:schemeClr val="accent4"/>
            </a:solidFill>
          </a:ln>
        </p:spPr>
      </p:pic>
      <p:pic>
        <p:nvPicPr>
          <p:cNvPr id="10" name="Image 9">
            <a:extLst>
              <a:ext uri="{FF2B5EF4-FFF2-40B4-BE49-F238E27FC236}">
                <a16:creationId xmlns:a16="http://schemas.microsoft.com/office/drawing/2014/main" id="{16DB135C-614B-4165-A060-467A86F5336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9479" y="4272682"/>
            <a:ext cx="2557726" cy="1440000"/>
          </a:xfrm>
          <a:prstGeom prst="rect">
            <a:avLst/>
          </a:prstGeom>
          <a:ln w="31750">
            <a:solidFill>
              <a:schemeClr val="accent4"/>
            </a:solidFill>
          </a:ln>
        </p:spPr>
      </p:pic>
    </p:spTree>
    <p:extLst>
      <p:ext uri="{BB962C8B-B14F-4D97-AF65-F5344CB8AC3E}">
        <p14:creationId xmlns:p14="http://schemas.microsoft.com/office/powerpoint/2010/main" val="13634137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FA298F6-7FFA-4FF4-843B-693BC3209959}"/>
              </a:ext>
            </a:extLst>
          </p:cNvPr>
          <p:cNvSpPr>
            <a:spLocks noGrp="1"/>
          </p:cNvSpPr>
          <p:nvPr>
            <p:ph type="sldNum" sz="quarter" idx="14"/>
          </p:nvPr>
        </p:nvSpPr>
        <p:spPr/>
        <p:txBody>
          <a:bodyPr/>
          <a:lstStyle/>
          <a:p>
            <a:fld id="{682AF141-3515-6B43-B29D-C3CB43CA3F9D}" type="slidenum">
              <a:rPr lang="en-US" altLang="en-US" smtClean="0"/>
              <a:pPr/>
              <a:t>5</a:t>
            </a:fld>
            <a:endParaRPr lang="en-US" altLang="en-US" dirty="0"/>
          </a:p>
        </p:txBody>
      </p:sp>
      <p:sp>
        <p:nvSpPr>
          <p:cNvPr id="3" name="Espace réservé du texte 2">
            <a:extLst>
              <a:ext uri="{FF2B5EF4-FFF2-40B4-BE49-F238E27FC236}">
                <a16:creationId xmlns:a16="http://schemas.microsoft.com/office/drawing/2014/main" id="{BAACF490-6647-40DD-892D-546A6DFC5114}"/>
              </a:ext>
            </a:extLst>
          </p:cNvPr>
          <p:cNvSpPr>
            <a:spLocks noGrp="1"/>
          </p:cNvSpPr>
          <p:nvPr>
            <p:ph type="body" sz="quarter" idx="11"/>
          </p:nvPr>
        </p:nvSpPr>
        <p:spPr/>
        <p:txBody>
          <a:bodyPr>
            <a:normAutofit lnSpcReduction="10000"/>
          </a:bodyPr>
          <a:lstStyle/>
          <a:p>
            <a:r>
              <a:rPr lang="fr-FR" altLang="fr-FR" dirty="0"/>
              <a:t>Pour tout besoin de formation interne, contactez le </a:t>
            </a:r>
            <a:r>
              <a:rPr lang="fr-FR" altLang="fr-FR" sz="2600" dirty="0">
                <a:solidFill>
                  <a:schemeClr val="accent4"/>
                </a:solidFill>
              </a:rPr>
              <a:t>service Prévention </a:t>
            </a:r>
            <a:endParaRPr lang="fr-FR" altLang="fr-FR" dirty="0">
              <a:solidFill>
                <a:schemeClr val="accent4"/>
              </a:solidFill>
            </a:endParaRPr>
          </a:p>
          <a:p>
            <a:endParaRPr lang="fr-FR" dirty="0"/>
          </a:p>
        </p:txBody>
      </p:sp>
      <p:sp>
        <p:nvSpPr>
          <p:cNvPr id="5" name="Titre 4">
            <a:extLst>
              <a:ext uri="{FF2B5EF4-FFF2-40B4-BE49-F238E27FC236}">
                <a16:creationId xmlns:a16="http://schemas.microsoft.com/office/drawing/2014/main" id="{9B3097CA-68E2-4C15-9581-FEC42B30E471}"/>
              </a:ext>
            </a:extLst>
          </p:cNvPr>
          <p:cNvSpPr>
            <a:spLocks noGrp="1"/>
          </p:cNvSpPr>
          <p:nvPr>
            <p:ph type="title"/>
          </p:nvPr>
        </p:nvSpPr>
        <p:spPr/>
        <p:txBody>
          <a:bodyPr/>
          <a:lstStyle/>
          <a:p>
            <a:r>
              <a:rPr lang="fr-FR" dirty="0"/>
              <a:t>Vos formations sécurité internes</a:t>
            </a:r>
          </a:p>
        </p:txBody>
      </p:sp>
      <p:grpSp>
        <p:nvGrpSpPr>
          <p:cNvPr id="12" name="Groupe 11">
            <a:extLst>
              <a:ext uri="{FF2B5EF4-FFF2-40B4-BE49-F238E27FC236}">
                <a16:creationId xmlns:a16="http://schemas.microsoft.com/office/drawing/2014/main" id="{6F63744D-D929-4905-A9C3-3C07B133F967}"/>
              </a:ext>
            </a:extLst>
          </p:cNvPr>
          <p:cNvGrpSpPr/>
          <p:nvPr/>
        </p:nvGrpSpPr>
        <p:grpSpPr>
          <a:xfrm>
            <a:off x="2349317" y="1806178"/>
            <a:ext cx="7448335" cy="4798711"/>
            <a:chOff x="2067665" y="1643604"/>
            <a:chExt cx="7448335" cy="4798711"/>
          </a:xfrm>
        </p:grpSpPr>
        <p:pic>
          <p:nvPicPr>
            <p:cNvPr id="13" name="Image 12">
              <a:extLst>
                <a:ext uri="{FF2B5EF4-FFF2-40B4-BE49-F238E27FC236}">
                  <a16:creationId xmlns:a16="http://schemas.microsoft.com/office/drawing/2014/main" id="{F99793D3-AB92-4A71-A597-6E46E0BDF55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76000" y="1643604"/>
              <a:ext cx="6840000" cy="4798711"/>
            </a:xfrm>
            <a:prstGeom prst="rect">
              <a:avLst/>
            </a:prstGeom>
          </p:spPr>
        </p:pic>
        <p:pic>
          <p:nvPicPr>
            <p:cNvPr id="14" name="Image 13">
              <a:extLst>
                <a:ext uri="{FF2B5EF4-FFF2-40B4-BE49-F238E27FC236}">
                  <a16:creationId xmlns:a16="http://schemas.microsoft.com/office/drawing/2014/main" id="{DAA60886-9FA8-44B2-ACA3-C91D0C64458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79220" y="3823346"/>
              <a:ext cx="907594" cy="900000"/>
            </a:xfrm>
            <a:prstGeom prst="rect">
              <a:avLst/>
            </a:prstGeom>
          </p:spPr>
        </p:pic>
        <p:pic>
          <p:nvPicPr>
            <p:cNvPr id="15" name="Image 14">
              <a:extLst>
                <a:ext uri="{FF2B5EF4-FFF2-40B4-BE49-F238E27FC236}">
                  <a16:creationId xmlns:a16="http://schemas.microsoft.com/office/drawing/2014/main" id="{65659B2B-1F8A-4760-83E3-BA0CF8A02F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67665" y="5394209"/>
              <a:ext cx="900000" cy="900000"/>
            </a:xfrm>
            <a:prstGeom prst="rect">
              <a:avLst/>
            </a:prstGeom>
          </p:spPr>
        </p:pic>
        <p:pic>
          <p:nvPicPr>
            <p:cNvPr id="16" name="Image 15">
              <a:extLst>
                <a:ext uri="{FF2B5EF4-FFF2-40B4-BE49-F238E27FC236}">
                  <a16:creationId xmlns:a16="http://schemas.microsoft.com/office/drawing/2014/main" id="{725D6F2A-1F74-4A3F-9F92-DFF278A07A2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67665" y="2283475"/>
              <a:ext cx="919149" cy="900000"/>
            </a:xfrm>
            <a:prstGeom prst="rect">
              <a:avLst/>
            </a:prstGeom>
          </p:spPr>
        </p:pic>
      </p:grpSp>
    </p:spTree>
    <p:extLst>
      <p:ext uri="{BB962C8B-B14F-4D97-AF65-F5344CB8AC3E}">
        <p14:creationId xmlns:p14="http://schemas.microsoft.com/office/powerpoint/2010/main" val="283139823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FA298F6-7FFA-4FF4-843B-693BC3209959}"/>
              </a:ext>
            </a:extLst>
          </p:cNvPr>
          <p:cNvSpPr>
            <a:spLocks noGrp="1"/>
          </p:cNvSpPr>
          <p:nvPr>
            <p:ph type="sldNum" sz="quarter" idx="14"/>
          </p:nvPr>
        </p:nvSpPr>
        <p:spPr/>
        <p:txBody>
          <a:bodyPr/>
          <a:lstStyle/>
          <a:p>
            <a:fld id="{682AF141-3515-6B43-B29D-C3CB43CA3F9D}" type="slidenum">
              <a:rPr lang="en-US" altLang="en-US" smtClean="0"/>
              <a:pPr/>
              <a:t>6</a:t>
            </a:fld>
            <a:endParaRPr lang="en-US" altLang="en-US" dirty="0"/>
          </a:p>
        </p:txBody>
      </p:sp>
      <p:sp>
        <p:nvSpPr>
          <p:cNvPr id="3" name="Espace réservé du texte 2">
            <a:extLst>
              <a:ext uri="{FF2B5EF4-FFF2-40B4-BE49-F238E27FC236}">
                <a16:creationId xmlns:a16="http://schemas.microsoft.com/office/drawing/2014/main" id="{BAACF490-6647-40DD-892D-546A6DFC5114}"/>
              </a:ext>
            </a:extLst>
          </p:cNvPr>
          <p:cNvSpPr>
            <a:spLocks noGrp="1"/>
          </p:cNvSpPr>
          <p:nvPr>
            <p:ph type="body" sz="quarter" idx="11"/>
          </p:nvPr>
        </p:nvSpPr>
        <p:spPr/>
        <p:txBody>
          <a:bodyPr>
            <a:noAutofit/>
          </a:bodyPr>
          <a:lstStyle/>
          <a:p>
            <a:r>
              <a:rPr lang="fr-FR" altLang="fr-FR" dirty="0"/>
              <a:t>Pour les demandes ou besoins de formation assurées en externe, contactez le </a:t>
            </a:r>
            <a:r>
              <a:rPr lang="fr-FR" altLang="fr-FR" sz="2400" dirty="0">
                <a:solidFill>
                  <a:schemeClr val="accent4"/>
                </a:solidFill>
              </a:rPr>
              <a:t>service  Formation </a:t>
            </a:r>
            <a:endParaRPr lang="fr-FR" altLang="fr-FR" dirty="0">
              <a:solidFill>
                <a:schemeClr val="accent4"/>
              </a:solidFill>
            </a:endParaRPr>
          </a:p>
          <a:p>
            <a:endParaRPr lang="fr-FR" dirty="0"/>
          </a:p>
        </p:txBody>
      </p:sp>
      <p:sp>
        <p:nvSpPr>
          <p:cNvPr id="5" name="Titre 4">
            <a:extLst>
              <a:ext uri="{FF2B5EF4-FFF2-40B4-BE49-F238E27FC236}">
                <a16:creationId xmlns:a16="http://schemas.microsoft.com/office/drawing/2014/main" id="{9B3097CA-68E2-4C15-9581-FEC42B30E471}"/>
              </a:ext>
            </a:extLst>
          </p:cNvPr>
          <p:cNvSpPr>
            <a:spLocks noGrp="1"/>
          </p:cNvSpPr>
          <p:nvPr>
            <p:ph type="title"/>
          </p:nvPr>
        </p:nvSpPr>
        <p:spPr/>
        <p:txBody>
          <a:bodyPr/>
          <a:lstStyle/>
          <a:p>
            <a:r>
              <a:rPr lang="fr-FR" dirty="0"/>
              <a:t>Vos formations sécurité externes</a:t>
            </a:r>
          </a:p>
        </p:txBody>
      </p:sp>
      <p:pic>
        <p:nvPicPr>
          <p:cNvPr id="6" name="Image 5">
            <a:extLst>
              <a:ext uri="{FF2B5EF4-FFF2-40B4-BE49-F238E27FC236}">
                <a16:creationId xmlns:a16="http://schemas.microsoft.com/office/drawing/2014/main" id="{4FF2314C-1B67-428C-B0D5-61AEAC1EA56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203400" y="1847428"/>
            <a:ext cx="5760000" cy="1102753"/>
          </a:xfrm>
          <a:prstGeom prst="rect">
            <a:avLst/>
          </a:prstGeom>
        </p:spPr>
      </p:pic>
      <p:pic>
        <p:nvPicPr>
          <p:cNvPr id="8" name="Image 7">
            <a:extLst>
              <a:ext uri="{FF2B5EF4-FFF2-40B4-BE49-F238E27FC236}">
                <a16:creationId xmlns:a16="http://schemas.microsoft.com/office/drawing/2014/main" id="{4E6F8AB1-7FBD-4301-A10F-51F3089B9CF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203400" y="2949439"/>
            <a:ext cx="5760000" cy="3311027"/>
          </a:xfrm>
          <a:prstGeom prst="rect">
            <a:avLst/>
          </a:prstGeom>
        </p:spPr>
      </p:pic>
      <p:pic>
        <p:nvPicPr>
          <p:cNvPr id="9" name="Image 8">
            <a:extLst>
              <a:ext uri="{FF2B5EF4-FFF2-40B4-BE49-F238E27FC236}">
                <a16:creationId xmlns:a16="http://schemas.microsoft.com/office/drawing/2014/main" id="{ACC34D7E-A89E-4906-8F1C-E927724D4BE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6000" y="2321888"/>
            <a:ext cx="5760000" cy="4002712"/>
          </a:xfrm>
          <a:prstGeom prst="rect">
            <a:avLst/>
          </a:prstGeom>
        </p:spPr>
      </p:pic>
    </p:spTree>
    <p:extLst>
      <p:ext uri="{BB962C8B-B14F-4D97-AF65-F5344CB8AC3E}">
        <p14:creationId xmlns:p14="http://schemas.microsoft.com/office/powerpoint/2010/main" val="346432686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1988223F-E4F5-4830-94DE-1D3C7474BE37}"/>
              </a:ext>
            </a:extLst>
          </p:cNvPr>
          <p:cNvSpPr>
            <a:spLocks noGrp="1"/>
          </p:cNvSpPr>
          <p:nvPr>
            <p:ph type="sldNum" sz="quarter" idx="14"/>
          </p:nvPr>
        </p:nvSpPr>
        <p:spPr/>
        <p:txBody>
          <a:bodyPr/>
          <a:lstStyle/>
          <a:p>
            <a:fld id="{682AF141-3515-6B43-B29D-C3CB43CA3F9D}" type="slidenum">
              <a:rPr lang="en-US" altLang="en-US" smtClean="0"/>
              <a:pPr/>
              <a:t>7</a:t>
            </a:fld>
            <a:endParaRPr lang="en-US" altLang="en-US" dirty="0"/>
          </a:p>
        </p:txBody>
      </p:sp>
      <p:sp>
        <p:nvSpPr>
          <p:cNvPr id="5" name="Titre 4">
            <a:extLst>
              <a:ext uri="{FF2B5EF4-FFF2-40B4-BE49-F238E27FC236}">
                <a16:creationId xmlns:a16="http://schemas.microsoft.com/office/drawing/2014/main" id="{B8C96C5E-CCED-4206-9970-1366466BC77E}"/>
              </a:ext>
            </a:extLst>
          </p:cNvPr>
          <p:cNvSpPr>
            <a:spLocks noGrp="1"/>
          </p:cNvSpPr>
          <p:nvPr>
            <p:ph type="title"/>
          </p:nvPr>
        </p:nvSpPr>
        <p:spPr>
          <a:xfrm>
            <a:off x="152400" y="0"/>
            <a:ext cx="9912929" cy="807063"/>
          </a:xfrm>
        </p:spPr>
        <p:txBody>
          <a:bodyPr/>
          <a:lstStyle/>
          <a:p>
            <a:r>
              <a:rPr lang="fr-FR" dirty="0"/>
              <a:t>Management de la sécurité  </a:t>
            </a:r>
          </a:p>
        </p:txBody>
      </p:sp>
      <p:graphicFrame>
        <p:nvGraphicFramePr>
          <p:cNvPr id="10" name="Tableau 9">
            <a:extLst>
              <a:ext uri="{FF2B5EF4-FFF2-40B4-BE49-F238E27FC236}">
                <a16:creationId xmlns:a16="http://schemas.microsoft.com/office/drawing/2014/main" id="{4B0D9A10-22B6-473C-AA63-167346719F50}"/>
              </a:ext>
            </a:extLst>
          </p:cNvPr>
          <p:cNvGraphicFramePr>
            <a:graphicFrameLocks noGrp="1"/>
          </p:cNvGraphicFramePr>
          <p:nvPr>
            <p:extLst>
              <p:ext uri="{D42A27DB-BD31-4B8C-83A1-F6EECF244321}">
                <p14:modId xmlns:p14="http://schemas.microsoft.com/office/powerpoint/2010/main" val="3459098759"/>
              </p:ext>
            </p:extLst>
          </p:nvPr>
        </p:nvGraphicFramePr>
        <p:xfrm>
          <a:off x="228599" y="914400"/>
          <a:ext cx="11734801" cy="4603137"/>
        </p:xfrm>
        <a:graphic>
          <a:graphicData uri="http://schemas.openxmlformats.org/drawingml/2006/table">
            <a:tbl>
              <a:tblPr firstRow="1" bandRow="1">
                <a:tableStyleId>{5C22544A-7EE6-4342-B048-85BDC9FD1C3A}</a:tableStyleId>
              </a:tblPr>
              <a:tblGrid>
                <a:gridCol w="538324">
                  <a:extLst>
                    <a:ext uri="{9D8B030D-6E8A-4147-A177-3AD203B41FA5}">
                      <a16:colId xmlns:a16="http://schemas.microsoft.com/office/drawing/2014/main" val="20000"/>
                    </a:ext>
                  </a:extLst>
                </a:gridCol>
                <a:gridCol w="1784445">
                  <a:extLst>
                    <a:ext uri="{9D8B030D-6E8A-4147-A177-3AD203B41FA5}">
                      <a16:colId xmlns:a16="http://schemas.microsoft.com/office/drawing/2014/main" val="20001"/>
                    </a:ext>
                  </a:extLst>
                </a:gridCol>
                <a:gridCol w="2570486">
                  <a:extLst>
                    <a:ext uri="{9D8B030D-6E8A-4147-A177-3AD203B41FA5}">
                      <a16:colId xmlns:a16="http://schemas.microsoft.com/office/drawing/2014/main" val="20002"/>
                    </a:ext>
                  </a:extLst>
                </a:gridCol>
                <a:gridCol w="3505200">
                  <a:extLst>
                    <a:ext uri="{9D8B030D-6E8A-4147-A177-3AD203B41FA5}">
                      <a16:colId xmlns:a16="http://schemas.microsoft.com/office/drawing/2014/main" val="20003"/>
                    </a:ext>
                  </a:extLst>
                </a:gridCol>
                <a:gridCol w="3336346">
                  <a:extLst>
                    <a:ext uri="{9D8B030D-6E8A-4147-A177-3AD203B41FA5}">
                      <a16:colId xmlns:a16="http://schemas.microsoft.com/office/drawing/2014/main" val="746827597"/>
                    </a:ext>
                  </a:extLst>
                </a:gridCol>
              </a:tblGrid>
              <a:tr h="476344">
                <a:tc>
                  <a:txBody>
                    <a:bodyPr/>
                    <a:lstStyle/>
                    <a:p>
                      <a:pPr algn="ctr"/>
                      <a:endParaRPr lang="fr-FR" sz="1100" dirty="0"/>
                    </a:p>
                  </a:txBody>
                  <a:tcPr marL="91436" marR="91436" marT="45717" marB="45717" anchor="ctr">
                    <a:lnL w="9525" cap="flat" cmpd="sng" algn="ctr">
                      <a:no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no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rgbClr val="5B9BD5"/>
                    </a:solidFill>
                  </a:tcPr>
                </a:tc>
                <a:tc>
                  <a:txBody>
                    <a:bodyPr/>
                    <a:lstStyle/>
                    <a:p>
                      <a:pPr algn="ctr"/>
                      <a:r>
                        <a:rPr lang="fr-FR" sz="1400" dirty="0">
                          <a:solidFill>
                            <a:schemeClr val="bg2"/>
                          </a:solidFill>
                        </a:rPr>
                        <a:t>Intitulé de la formation</a:t>
                      </a:r>
                    </a:p>
                  </a:txBody>
                  <a:tcPr marL="91436" marR="91436" marT="45717" marB="45717"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rgbClr val="5B9BD5"/>
                    </a:solidFill>
                  </a:tcPr>
                </a:tc>
                <a:tc>
                  <a:txBody>
                    <a:bodyPr/>
                    <a:lstStyle/>
                    <a:p>
                      <a:pPr algn="ctr"/>
                      <a:r>
                        <a:rPr lang="fr-FR" sz="1400" b="1" kern="1200" dirty="0">
                          <a:solidFill>
                            <a:schemeClr val="bg2"/>
                          </a:solidFill>
                          <a:latin typeface="+mn-lt"/>
                          <a:ea typeface="+mn-ea"/>
                          <a:cs typeface="+mn-cs"/>
                        </a:rPr>
                        <a:t>Public </a:t>
                      </a:r>
                    </a:p>
                  </a:txBody>
                  <a:tcPr marL="91436" marR="91436" marT="45717" marB="45717"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rgbClr val="5B9BD5"/>
                    </a:solidFill>
                  </a:tcPr>
                </a:tc>
                <a:tc>
                  <a:txBody>
                    <a:bodyPr/>
                    <a:lstStyle/>
                    <a:p>
                      <a:pPr algn="ctr"/>
                      <a:r>
                        <a:rPr lang="fr-FR" sz="1400" dirty="0">
                          <a:solidFill>
                            <a:schemeClr val="bg2"/>
                          </a:solidFill>
                        </a:rPr>
                        <a:t>Objectifs </a:t>
                      </a:r>
                    </a:p>
                  </a:txBody>
                  <a:tcPr marL="91436" marR="91436" marT="45717" marB="45717"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rgbClr val="5B9BD5"/>
                    </a:solidFill>
                  </a:tcPr>
                </a:tc>
                <a:tc>
                  <a:txBody>
                    <a:bodyPr/>
                    <a:lstStyle/>
                    <a:p>
                      <a:pPr algn="ctr"/>
                      <a:r>
                        <a:rPr lang="fr-FR" sz="1400" dirty="0">
                          <a:solidFill>
                            <a:schemeClr val="bg2"/>
                          </a:solidFill>
                        </a:rPr>
                        <a:t>Programme</a:t>
                      </a:r>
                    </a:p>
                  </a:txBody>
                  <a:tcPr marL="91436" marR="91436" marT="45717" marB="45717"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1201376">
                <a:tc>
                  <a:txBody>
                    <a:bodyPr/>
                    <a:lstStyle/>
                    <a:p>
                      <a:pPr algn="l" fontAlgn="ctr"/>
                      <a:r>
                        <a:rPr lang="fr-FR" sz="1400" b="0" i="0" u="none" strike="noStrike" cap="small" baseline="0" dirty="0">
                          <a:solidFill>
                            <a:srgbClr val="0070C0"/>
                          </a:solidFill>
                          <a:effectLst/>
                          <a:latin typeface="Calibri" panose="020F0502020204030204" pitchFamily="34" charset="0"/>
                        </a:rPr>
                        <a:t>EXTERNE</a:t>
                      </a:r>
                    </a:p>
                  </a:txBody>
                  <a:tcPr marL="35998" marR="9525" marT="9525" marB="0" vert="vert270" anchor="ctr" anchorCtr="1">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algn="ctr" fontAlgn="ctr"/>
                      <a:r>
                        <a:rPr lang="fr-FR" sz="1400" b="0" i="0" u="none" strike="noStrike" dirty="0">
                          <a:solidFill>
                            <a:schemeClr val="bg1"/>
                          </a:solidFill>
                          <a:effectLst/>
                          <a:latin typeface="Calibri" panose="020F0502020204030204" pitchFamily="34" charset="0"/>
                        </a:rPr>
                        <a:t>« Management de la sécurité : passer de l’intention à l’action » </a:t>
                      </a:r>
                    </a:p>
                  </a:txBody>
                  <a:tcPr marL="35998" marR="9525" marT="9525"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rowSpan="3">
                  <a:txBody>
                    <a:bodyPr/>
                    <a:lstStyle/>
                    <a:p>
                      <a:pPr algn="ctr" fontAlgn="ctr"/>
                      <a:r>
                        <a:rPr lang="fr-FR" sz="1400" b="0" i="0" u="none" strike="noStrike" dirty="0">
                          <a:solidFill>
                            <a:schemeClr val="bg1"/>
                          </a:solidFill>
                          <a:effectLst/>
                          <a:latin typeface="Calibri" panose="020F0502020204030204" pitchFamily="34" charset="0"/>
                        </a:rPr>
                        <a:t>Managers logistiques </a:t>
                      </a:r>
                    </a:p>
                    <a:p>
                      <a:pPr algn="ctr" fontAlgn="ctr"/>
                      <a:r>
                        <a:rPr lang="fr-FR" sz="1400" b="0" i="0" u="none" strike="noStrike" dirty="0">
                          <a:solidFill>
                            <a:schemeClr val="bg1"/>
                          </a:solidFill>
                          <a:effectLst/>
                          <a:latin typeface="Calibri" panose="020F0502020204030204" pitchFamily="34" charset="0"/>
                        </a:rPr>
                        <a:t>(du DDD au chef d’équipe)</a:t>
                      </a:r>
                    </a:p>
                    <a:p>
                      <a:pPr algn="ctr" fontAlgn="ctr"/>
                      <a:endParaRPr lang="fr-FR" sz="800" b="0" i="0" u="none" strike="noStrike" dirty="0">
                        <a:solidFill>
                          <a:schemeClr val="bg1"/>
                        </a:solidFill>
                        <a:effectLst/>
                        <a:latin typeface="Calibri" panose="020F0502020204030204" pitchFamily="34" charset="0"/>
                      </a:endParaRPr>
                    </a:p>
                    <a:p>
                      <a:pPr algn="ctr" fontAlgn="ctr"/>
                      <a:r>
                        <a:rPr lang="fr-FR" sz="1400" b="0" i="0" u="none" strike="noStrike" dirty="0">
                          <a:solidFill>
                            <a:schemeClr val="bg1"/>
                          </a:solidFill>
                          <a:effectLst/>
                          <a:latin typeface="Calibri" panose="020F0502020204030204" pitchFamily="34" charset="0"/>
                        </a:rPr>
                        <a:t>Manager commerce</a:t>
                      </a:r>
                    </a:p>
                    <a:p>
                      <a:pPr algn="ctr" fontAlgn="ctr"/>
                      <a:r>
                        <a:rPr lang="fr-FR" sz="1400" b="0" i="0" u="none" strike="noStrike" dirty="0">
                          <a:solidFill>
                            <a:schemeClr val="bg1"/>
                          </a:solidFill>
                          <a:effectLst/>
                          <a:latin typeface="Calibri" panose="020F0502020204030204" pitchFamily="34" charset="0"/>
                        </a:rPr>
                        <a:t>(du DCND au manager des ventes )</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algn="ctr"/>
                      <a:r>
                        <a:rPr lang="fr-FR" sz="1400" dirty="0">
                          <a:solidFill>
                            <a:schemeClr val="bg1"/>
                          </a:solidFill>
                        </a:rPr>
                        <a:t>Apporter aux managers opérationnels des techniques et outils pour  animer de manière impactante la sécurité au quotidien</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285750" indent="-285750" algn="l">
                        <a:buFont typeface="Wingdings" panose="05000000000000000000" pitchFamily="2" charset="2"/>
                        <a:buChar char="Ø"/>
                      </a:pPr>
                      <a:r>
                        <a:rPr lang="fr-FR" sz="1400" dirty="0">
                          <a:solidFill>
                            <a:schemeClr val="bg1"/>
                          </a:solidFill>
                        </a:rPr>
                        <a:t>Rôle du manager en matière de sécurité</a:t>
                      </a:r>
                    </a:p>
                    <a:p>
                      <a:pPr marL="285750" indent="-285750" algn="l">
                        <a:buFont typeface="Wingdings" panose="05000000000000000000" pitchFamily="2" charset="2"/>
                        <a:buChar char="Ø"/>
                      </a:pPr>
                      <a:r>
                        <a:rPr lang="fr-FR" sz="1400" dirty="0">
                          <a:solidFill>
                            <a:schemeClr val="bg1"/>
                          </a:solidFill>
                        </a:rPr>
                        <a:t>Animer une visite sécurité</a:t>
                      </a:r>
                    </a:p>
                    <a:p>
                      <a:pPr marL="285750" indent="-285750" algn="l">
                        <a:buFont typeface="Wingdings" panose="05000000000000000000" pitchFamily="2" charset="2"/>
                        <a:buChar char="Ø"/>
                      </a:pPr>
                      <a:r>
                        <a:rPr lang="fr-FR" sz="1400" dirty="0">
                          <a:solidFill>
                            <a:schemeClr val="bg1"/>
                          </a:solidFill>
                        </a:rPr>
                        <a:t>Réaliser une analyse d’accident</a:t>
                      </a:r>
                    </a:p>
                    <a:p>
                      <a:pPr marL="285750" indent="-285750" algn="l">
                        <a:buFont typeface="Wingdings" panose="05000000000000000000" pitchFamily="2" charset="2"/>
                        <a:buChar char="Ø"/>
                      </a:pPr>
                      <a:r>
                        <a:rPr lang="fr-FR" sz="1400" dirty="0">
                          <a:solidFill>
                            <a:schemeClr val="bg1"/>
                          </a:solidFill>
                        </a:rPr>
                        <a:t>Communiquer suite à un accident</a:t>
                      </a:r>
                    </a:p>
                    <a:p>
                      <a:pPr marL="285750" indent="-285750" algn="l">
                        <a:buFont typeface="Wingdings" panose="05000000000000000000" pitchFamily="2" charset="2"/>
                        <a:buChar char="Ø"/>
                      </a:pPr>
                      <a:r>
                        <a:rPr lang="fr-FR" sz="1400" dirty="0">
                          <a:solidFill>
                            <a:schemeClr val="bg1"/>
                          </a:solidFill>
                        </a:rPr>
                        <a:t> Animer des rituels participatifs et engageants</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1051569">
                <a:tc rowSpan="3">
                  <a:txBody>
                    <a:bodyPr/>
                    <a:lstStyle/>
                    <a:p>
                      <a:pPr algn="l" fontAlgn="ctr"/>
                      <a:r>
                        <a:rPr lang="fr-FR" sz="1400" b="0" i="0" u="none" strike="noStrike" cap="small" baseline="0" dirty="0">
                          <a:solidFill>
                            <a:srgbClr val="0070C0"/>
                          </a:solidFill>
                          <a:effectLst/>
                          <a:latin typeface="Calibri" panose="020F0502020204030204" pitchFamily="34" charset="0"/>
                        </a:rPr>
                        <a:t>INTERNE</a:t>
                      </a:r>
                    </a:p>
                  </a:txBody>
                  <a:tcPr marL="35998" marR="9525" marT="9525" marB="0" vert="vert270" anchor="ctr" anchorCtr="1">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400" b="0" i="0" u="none" strike="noStrike" dirty="0">
                          <a:solidFill>
                            <a:schemeClr val="bg1"/>
                          </a:solidFill>
                          <a:effectLst/>
                          <a:latin typeface="Calibri" panose="020F0502020204030204" pitchFamily="34" charset="0"/>
                        </a:rPr>
                        <a:t>DUERP : un outil d’évaluation des risques professionnels </a:t>
                      </a:r>
                    </a:p>
                  </a:txBody>
                  <a:tcPr marL="35998" marR="9525" marT="9525"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vMerge="1">
                  <a:txBody>
                    <a:bodyPr/>
                    <a:lstStyle/>
                    <a:p>
                      <a:pPr algn="ctr" fontAlgn="ctr"/>
                      <a:endParaRPr lang="fr-FR" sz="1400" b="0" i="0" u="none" strike="noStrike" dirty="0">
                        <a:solidFill>
                          <a:schemeClr val="bg1"/>
                        </a:solidFill>
                        <a:effectLst/>
                        <a:latin typeface="Calibri" panose="020F0502020204030204" pitchFamily="34" charset="0"/>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0" dirty="0">
                          <a:solidFill>
                            <a:schemeClr val="bg1"/>
                          </a:solidFill>
                        </a:rPr>
                        <a:t>Permettre aux managers opérationnels de s’approprier la méthodologie d’évaluation des risques professionnels et l’outil DUERP </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FR" sz="1400" b="0" dirty="0">
                          <a:solidFill>
                            <a:schemeClr val="bg1"/>
                          </a:solidFill>
                        </a:rPr>
                        <a:t>Règlementation relative à l’évaluation des risques professionnels</a:t>
                      </a:r>
                    </a:p>
                    <a:p>
                      <a:pPr marL="285750" indent="-285750" algn="l">
                        <a:buFont typeface="Wingdings" panose="05000000000000000000" pitchFamily="2" charset="2"/>
                        <a:buChar char="Ø"/>
                      </a:pPr>
                      <a:r>
                        <a:rPr lang="fr-FR" sz="1400" dirty="0">
                          <a:solidFill>
                            <a:schemeClr val="bg1"/>
                          </a:solidFill>
                        </a:rPr>
                        <a:t>Savoir identifier et évaluer les risques</a:t>
                      </a:r>
                    </a:p>
                    <a:p>
                      <a:pPr marL="285750" indent="-285750" algn="l">
                        <a:buFont typeface="Wingdings" panose="05000000000000000000" pitchFamily="2" charset="2"/>
                        <a:buChar char="Ø"/>
                      </a:pPr>
                      <a:r>
                        <a:rPr lang="fr-FR" sz="1400" dirty="0">
                          <a:solidFill>
                            <a:schemeClr val="bg1"/>
                          </a:solidFill>
                        </a:rPr>
                        <a:t>Définir les plans d’actions adaptés</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2979404107"/>
                  </a:ext>
                </a:extLst>
              </a:tr>
              <a:tr h="869346">
                <a:tc vMerge="1">
                  <a:txBody>
                    <a:bodyPr/>
                    <a:lstStyle/>
                    <a:p>
                      <a:pPr algn="l" fontAlgn="ctr"/>
                      <a:endParaRPr lang="fr-FR" sz="1400" b="0" i="0" u="none" strike="noStrike" cap="small" baseline="0" dirty="0">
                        <a:solidFill>
                          <a:srgbClr val="0070C0"/>
                        </a:solidFill>
                        <a:effectLst/>
                        <a:latin typeface="Calibri" panose="020F0502020204030204" pitchFamily="34" charset="0"/>
                      </a:endParaRPr>
                    </a:p>
                  </a:txBody>
                  <a:tcPr marL="35998" marR="9525" marT="9525" marB="0" vert="vert270" anchor="ctr" anchorCtr="1">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400" b="0" i="0" u="none" strike="noStrike" dirty="0">
                          <a:solidFill>
                            <a:schemeClr val="bg1"/>
                          </a:solidFill>
                          <a:effectLst/>
                          <a:latin typeface="Calibri" panose="020F0502020204030204" pitchFamily="34" charset="0"/>
                        </a:rPr>
                        <a:t>Gestion administrative des accidents du travail et trajet </a:t>
                      </a:r>
                    </a:p>
                  </a:txBody>
                  <a:tcPr marL="35998" marR="9525" marT="9525"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vMerge="1">
                  <a:txBody>
                    <a:bodyPr/>
                    <a:lstStyle/>
                    <a:p>
                      <a:pPr algn="ctr" fontAlgn="ctr"/>
                      <a:endParaRPr lang="fr-FR" sz="1400" b="0" i="0" u="none" strike="noStrike" dirty="0">
                        <a:solidFill>
                          <a:schemeClr val="bg1"/>
                        </a:solidFill>
                        <a:effectLst/>
                        <a:latin typeface="Calibri" panose="020F0502020204030204" pitchFamily="34" charset="0"/>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a:solidFill>
                            <a:schemeClr val="bg1"/>
                          </a:solidFill>
                        </a:rPr>
                        <a:t>Former l’ensemble des managers à  la réalisation des déclarations d’accidents de travail et trajet </a:t>
                      </a:r>
                      <a:endParaRPr lang="fr-FR" sz="1400" b="0" dirty="0">
                        <a:solidFill>
                          <a:schemeClr val="bg1"/>
                        </a:solidFill>
                      </a:endParaRP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285750" indent="-285750" algn="l">
                        <a:buFont typeface="Wingdings" panose="05000000000000000000" pitchFamily="2" charset="2"/>
                        <a:buChar char="Ø"/>
                      </a:pPr>
                      <a:r>
                        <a:rPr lang="fr-FR" sz="1400" dirty="0">
                          <a:solidFill>
                            <a:schemeClr val="bg1"/>
                          </a:solidFill>
                        </a:rPr>
                        <a:t>Maitriser la typologie des accidents </a:t>
                      </a:r>
                    </a:p>
                    <a:p>
                      <a:pPr marL="285750" indent="-285750" algn="l">
                        <a:buFont typeface="Wingdings" panose="05000000000000000000" pitchFamily="2" charset="2"/>
                        <a:buChar char="Ø"/>
                      </a:pPr>
                      <a:r>
                        <a:rPr lang="fr-FR" sz="1400" dirty="0">
                          <a:solidFill>
                            <a:schemeClr val="bg1"/>
                          </a:solidFill>
                        </a:rPr>
                        <a:t> Réaliser une DAT conforme </a:t>
                      </a:r>
                    </a:p>
                    <a:p>
                      <a:pPr marL="285750" indent="-285750" algn="l">
                        <a:buFont typeface="Wingdings" panose="05000000000000000000" pitchFamily="2" charset="2"/>
                        <a:buChar char="Ø"/>
                      </a:pPr>
                      <a:r>
                        <a:rPr lang="fr-FR" sz="1400" dirty="0">
                          <a:solidFill>
                            <a:schemeClr val="bg1"/>
                          </a:solidFill>
                        </a:rPr>
                        <a:t>Gestion sur net entreprise </a:t>
                      </a:r>
                    </a:p>
                    <a:p>
                      <a:pPr marL="285750" indent="-285750" algn="l">
                        <a:buFont typeface="Wingdings" panose="05000000000000000000" pitchFamily="2" charset="2"/>
                        <a:buChar char="Ø"/>
                      </a:pPr>
                      <a:r>
                        <a:rPr lang="fr-FR" sz="1400" dirty="0">
                          <a:solidFill>
                            <a:schemeClr val="bg1"/>
                          </a:solidFill>
                        </a:rPr>
                        <a:t>Saisie SAP  </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3913189207"/>
                  </a:ext>
                </a:extLst>
              </a:tr>
              <a:tr h="808380">
                <a:tc vMerge="1">
                  <a:txBody>
                    <a:bodyPr/>
                    <a:lstStyle/>
                    <a:p>
                      <a:pPr algn="l" fontAlgn="ctr"/>
                      <a:endParaRPr lang="fr-FR" sz="1400" b="0" i="0" u="none" strike="noStrike" cap="small" baseline="0" dirty="0">
                        <a:solidFill>
                          <a:srgbClr val="0070C0"/>
                        </a:solidFill>
                        <a:effectLst/>
                        <a:latin typeface="Calibri" panose="020F0502020204030204" pitchFamily="34" charset="0"/>
                      </a:endParaRPr>
                    </a:p>
                  </a:txBody>
                  <a:tcPr marL="35998" marR="9525" marT="9525" marB="0" vert="vert270" anchor="ctr" anchorCtr="1">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400" b="0" i="0" u="none" strike="noStrike" dirty="0">
                          <a:solidFill>
                            <a:schemeClr val="bg1"/>
                          </a:solidFill>
                          <a:effectLst/>
                          <a:latin typeface="Calibri" panose="020F0502020204030204" pitchFamily="34" charset="0"/>
                        </a:rPr>
                        <a:t>CACES &amp;</a:t>
                      </a:r>
                    </a:p>
                    <a:p>
                      <a:pPr marL="0" marR="0" lvl="0" indent="0" algn="ctr" defTabSz="914400" rtl="0" eaLnBrk="1" fontAlgn="ctr" latinLnBrk="0" hangingPunct="1">
                        <a:lnSpc>
                          <a:spcPct val="100000"/>
                        </a:lnSpc>
                        <a:spcBef>
                          <a:spcPts val="0"/>
                        </a:spcBef>
                        <a:spcAft>
                          <a:spcPts val="0"/>
                        </a:spcAft>
                        <a:buClrTx/>
                        <a:buSzTx/>
                        <a:buFontTx/>
                        <a:buNone/>
                        <a:tabLst/>
                        <a:defRPr/>
                      </a:pPr>
                      <a:r>
                        <a:rPr lang="fr-FR" sz="1400" b="0" i="0" u="none" strike="noStrike" dirty="0">
                          <a:solidFill>
                            <a:schemeClr val="bg1"/>
                          </a:solidFill>
                          <a:effectLst/>
                          <a:latin typeface="Calibri" panose="020F0502020204030204" pitchFamily="34" charset="0"/>
                        </a:rPr>
                        <a:t>autorisations de conduite</a:t>
                      </a:r>
                    </a:p>
                  </a:txBody>
                  <a:tcPr marL="35998" marR="9525" marT="9525"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algn="ctr" fontAlgn="ctr"/>
                      <a:r>
                        <a:rPr lang="fr-FR" sz="1400" b="0" i="0" u="none" strike="noStrike" dirty="0">
                          <a:solidFill>
                            <a:schemeClr val="bg1"/>
                          </a:solidFill>
                          <a:effectLst/>
                          <a:latin typeface="Calibri" panose="020F0502020204030204" pitchFamily="34" charset="0"/>
                        </a:rPr>
                        <a:t>Managers logistiques </a:t>
                      </a:r>
                    </a:p>
                    <a:p>
                      <a:pPr algn="ctr" fontAlgn="ctr"/>
                      <a:r>
                        <a:rPr lang="fr-FR" sz="1400" b="0" i="0" u="none" strike="noStrike" dirty="0">
                          <a:solidFill>
                            <a:schemeClr val="bg1"/>
                          </a:solidFill>
                          <a:effectLst/>
                          <a:latin typeface="Calibri" panose="020F0502020204030204" pitchFamily="34" charset="0"/>
                        </a:rPr>
                        <a:t>(DE, RT, RP, RR &amp; RM)</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0" dirty="0">
                          <a:solidFill>
                            <a:schemeClr val="bg1"/>
                          </a:solidFill>
                        </a:rPr>
                        <a:t>Connaître la réglementation et les dispositions d’autorisation de conduite d’engins en sécurité</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tc>
                  <a:txBody>
                    <a:bodyPr/>
                    <a:lstStyle/>
                    <a:p>
                      <a:pPr marL="285750" indent="-285750" algn="l">
                        <a:buFont typeface="Wingdings" panose="05000000000000000000" pitchFamily="2" charset="2"/>
                        <a:buChar char="Ø"/>
                      </a:pPr>
                      <a:r>
                        <a:rPr lang="fr-FR" sz="1400" dirty="0">
                          <a:solidFill>
                            <a:schemeClr val="bg1"/>
                          </a:solidFill>
                        </a:rPr>
                        <a:t>Dispositions réglementaires</a:t>
                      </a:r>
                    </a:p>
                    <a:p>
                      <a:pPr marL="285750" indent="-285750" algn="l">
                        <a:buFont typeface="Wingdings" panose="05000000000000000000" pitchFamily="2" charset="2"/>
                        <a:buChar char="Ø"/>
                      </a:pPr>
                      <a:r>
                        <a:rPr lang="fr-FR" sz="1400" dirty="0">
                          <a:solidFill>
                            <a:schemeClr val="bg1"/>
                          </a:solidFill>
                        </a:rPr>
                        <a:t>Les catégories de CACES</a:t>
                      </a:r>
                    </a:p>
                    <a:p>
                      <a:pPr marL="285750" indent="-285750" algn="l">
                        <a:buFont typeface="Wingdings" panose="05000000000000000000" pitchFamily="2" charset="2"/>
                        <a:buChar char="Ø"/>
                      </a:pPr>
                      <a:r>
                        <a:rPr lang="fr-FR" sz="1400" dirty="0">
                          <a:solidFill>
                            <a:schemeClr val="bg1"/>
                          </a:solidFill>
                        </a:rPr>
                        <a:t>L’autorisation de conduite</a:t>
                      </a:r>
                    </a:p>
                  </a:txBody>
                  <a:tcPr marL="0" marR="0" marT="0" marB="45717"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3413216846"/>
                  </a:ext>
                </a:extLst>
              </a:tr>
            </a:tbl>
          </a:graphicData>
        </a:graphic>
      </p:graphicFrame>
      <p:sp>
        <p:nvSpPr>
          <p:cNvPr id="6" name="Espace réservé du texte 2">
            <a:extLst>
              <a:ext uri="{FF2B5EF4-FFF2-40B4-BE49-F238E27FC236}">
                <a16:creationId xmlns:a16="http://schemas.microsoft.com/office/drawing/2014/main" id="{307AAD92-581E-4914-AAFF-543387A7644E}"/>
              </a:ext>
            </a:extLst>
          </p:cNvPr>
          <p:cNvSpPr>
            <a:spLocks noGrp="1"/>
          </p:cNvSpPr>
          <p:nvPr>
            <p:ph type="body" sz="quarter" idx="11"/>
          </p:nvPr>
        </p:nvSpPr>
        <p:spPr>
          <a:xfrm>
            <a:off x="335971" y="5633207"/>
            <a:ext cx="11475029" cy="538993"/>
          </a:xfrm>
        </p:spPr>
        <p:txBody>
          <a:bodyPr>
            <a:noAutofit/>
          </a:bodyPr>
          <a:lstStyle/>
          <a:p>
            <a:r>
              <a:rPr lang="fr-FR" altLang="fr-FR" u="sng" dirty="0"/>
              <a:t>À venir :</a:t>
            </a:r>
            <a:r>
              <a:rPr lang="fr-FR" altLang="fr-FR" dirty="0"/>
              <a:t> </a:t>
            </a:r>
            <a:r>
              <a:rPr lang="fr-FR" altLang="fr-FR" b="0" spc="0" dirty="0">
                <a:latin typeface="Myriad Pro" panose="020B0503030403020204"/>
                <a:ea typeface="Nirmala UI" panose="020B0502040204020203" pitchFamily="34" charset="0"/>
                <a:cs typeface="Nirmala UI" panose="020B0502040204020203" pitchFamily="34" charset="0"/>
              </a:rPr>
              <a:t>D’autres modules de formations sont en cours de déploiement (protocole de sécurité	 incendie, …). Pour plus d’informations, contactez le </a:t>
            </a:r>
            <a:r>
              <a:rPr lang="fr-FR" altLang="fr-FR" sz="2400" b="0" spc="0" dirty="0">
                <a:solidFill>
                  <a:schemeClr val="accent4"/>
                </a:solidFill>
                <a:latin typeface="Myriad Pro" panose="020B0503030403020204"/>
                <a:ea typeface="Nirmala UI" panose="020B0502040204020203" pitchFamily="34" charset="0"/>
                <a:cs typeface="Nirmala UI" panose="020B0502040204020203" pitchFamily="34" charset="0"/>
              </a:rPr>
              <a:t>service  Prévention </a:t>
            </a:r>
            <a:endParaRPr lang="fr-FR" altLang="fr-FR" b="0" spc="0" dirty="0">
              <a:solidFill>
                <a:schemeClr val="accent4"/>
              </a:solidFill>
              <a:latin typeface="Myriad Pro" panose="020B0503030403020204"/>
              <a:ea typeface="Nirmala UI" panose="020B0502040204020203" pitchFamily="34" charset="0"/>
              <a:cs typeface="Nirmala UI" panose="020B0502040204020203" pitchFamily="34" charset="0"/>
            </a:endParaRPr>
          </a:p>
          <a:p>
            <a:endParaRPr lang="fr-FR" dirty="0"/>
          </a:p>
        </p:txBody>
      </p:sp>
    </p:spTree>
    <p:extLst>
      <p:ext uri="{BB962C8B-B14F-4D97-AF65-F5344CB8AC3E}">
        <p14:creationId xmlns:p14="http://schemas.microsoft.com/office/powerpoint/2010/main" val="401151106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10">
      <a:dk1>
        <a:srgbClr val="1A320D"/>
      </a:dk1>
      <a:lt1>
        <a:srgbClr val="6AB244"/>
      </a:lt1>
      <a:dk2>
        <a:srgbClr val="FEFFFF"/>
      </a:dk2>
      <a:lt2>
        <a:srgbClr val="F8F4E8"/>
      </a:lt2>
      <a:accent1>
        <a:srgbClr val="B2E62E"/>
      </a:accent1>
      <a:accent2>
        <a:srgbClr val="FDB4C1"/>
      </a:accent2>
      <a:accent3>
        <a:srgbClr val="F55E3F"/>
      </a:accent3>
      <a:accent4>
        <a:srgbClr val="0D65EA"/>
      </a:accent4>
      <a:accent5>
        <a:srgbClr val="8FC8C6"/>
      </a:accent5>
      <a:accent6>
        <a:srgbClr val="FEC055"/>
      </a:accent6>
      <a:hlink>
        <a:srgbClr val="0D65EA"/>
      </a:hlink>
      <a:folHlink>
        <a:srgbClr val="1E1B4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sco Purposer Powerpoint Template" id="{05165614-F5AE-BD41-9382-5FA310206063}" vid="{E9D2A507-93CF-DD46-908F-98F00F45C5D7}"/>
    </a:ext>
  </a:extLst>
</a:theme>
</file>

<file path=ppt/theme/theme3.xml><?xml version="1.0" encoding="utf-8"?>
<a:theme xmlns:a="http://schemas.openxmlformats.org/drawingml/2006/main" name="2_Office Theme">
  <a:themeElements>
    <a:clrScheme name="Sysco Purpose 2">
      <a:dk1>
        <a:srgbClr val="1A320D"/>
      </a:dk1>
      <a:lt1>
        <a:srgbClr val="6AB244"/>
      </a:lt1>
      <a:dk2>
        <a:srgbClr val="FEFFFF"/>
      </a:dk2>
      <a:lt2>
        <a:srgbClr val="F8F4E8"/>
      </a:lt2>
      <a:accent1>
        <a:srgbClr val="B2E62E"/>
      </a:accent1>
      <a:accent2>
        <a:srgbClr val="FDB4C1"/>
      </a:accent2>
      <a:accent3>
        <a:srgbClr val="F55E3F"/>
      </a:accent3>
      <a:accent4>
        <a:srgbClr val="0D65EA"/>
      </a:accent4>
      <a:accent5>
        <a:srgbClr val="8FC8C6"/>
      </a:accent5>
      <a:accent6>
        <a:srgbClr val="FEC055"/>
      </a:accent6>
      <a:hlink>
        <a:srgbClr val="FCC8A5"/>
      </a:hlink>
      <a:folHlink>
        <a:srgbClr val="1E1B4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sco Purposer Powerpoint Template" id="{05165614-F5AE-BD41-9382-5FA310206063}" vid="{E9D2A507-93CF-DD46-908F-98F00F45C5D7}"/>
    </a:ext>
  </a:extLst>
</a:theme>
</file>

<file path=ppt/theme/theme4.xml><?xml version="1.0" encoding="utf-8"?>
<a:theme xmlns:a="http://schemas.openxmlformats.org/drawingml/2006/main" name="2_Sysco_CF_XSY007">
  <a:themeElements>
    <a:clrScheme name="Current">
      <a:dk1>
        <a:srgbClr val="000000"/>
      </a:dk1>
      <a:lt1>
        <a:srgbClr val="FFFFFF"/>
      </a:lt1>
      <a:dk2>
        <a:srgbClr val="126FBD"/>
      </a:dk2>
      <a:lt2>
        <a:srgbClr val="EAEAEA"/>
      </a:lt2>
      <a:accent1>
        <a:srgbClr val="CCCCCC"/>
      </a:accent1>
      <a:accent2>
        <a:srgbClr val="70B740"/>
      </a:accent2>
      <a:accent3>
        <a:srgbClr val="0082C8"/>
      </a:accent3>
      <a:accent4>
        <a:srgbClr val="004C7E"/>
      </a:accent4>
      <a:accent5>
        <a:srgbClr val="FF6600"/>
      </a:accent5>
      <a:accent6>
        <a:srgbClr val="808080"/>
      </a:accent6>
      <a:hlink>
        <a:srgbClr val="0082C8"/>
      </a:hlink>
      <a:folHlink>
        <a:srgbClr val="004C7E"/>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ysco_CF_XSY007 1">
        <a:dk1>
          <a:srgbClr val="000000"/>
        </a:dk1>
        <a:lt1>
          <a:srgbClr val="FFFFFF"/>
        </a:lt1>
        <a:dk2>
          <a:srgbClr val="126FBD"/>
        </a:dk2>
        <a:lt2>
          <a:srgbClr val="EAEAEA"/>
        </a:lt2>
        <a:accent1>
          <a:srgbClr val="CCCCCC"/>
        </a:accent1>
        <a:accent2>
          <a:srgbClr val="70B740"/>
        </a:accent2>
        <a:accent3>
          <a:srgbClr val="FFFFFF"/>
        </a:accent3>
        <a:accent4>
          <a:srgbClr val="000000"/>
        </a:accent4>
        <a:accent5>
          <a:srgbClr val="E2E2E2"/>
        </a:accent5>
        <a:accent6>
          <a:srgbClr val="65A639"/>
        </a:accent6>
        <a:hlink>
          <a:srgbClr val="0082C8"/>
        </a:hlink>
        <a:folHlink>
          <a:srgbClr val="004C7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BD8F6D63F0424DBE381E25CB7849C0" ma:contentTypeVersion="12" ma:contentTypeDescription="Create a new document." ma:contentTypeScope="" ma:versionID="0796ad89926523b5ece3f38f918c6180">
  <xsd:schema xmlns:xsd="http://www.w3.org/2001/XMLSchema" xmlns:xs="http://www.w3.org/2001/XMLSchema" xmlns:p="http://schemas.microsoft.com/office/2006/metadata/properties" xmlns:ns3="9d3da040-67a5-49fe-b86d-4216ca62e315" xmlns:ns4="09f86e97-9e32-402c-9a80-983a8d16fd88" targetNamespace="http://schemas.microsoft.com/office/2006/metadata/properties" ma:root="true" ma:fieldsID="bf902f8e7c2809c1284434a579a3ac85" ns3:_="" ns4:_="">
    <xsd:import namespace="9d3da040-67a5-49fe-b86d-4216ca62e315"/>
    <xsd:import namespace="09f86e97-9e32-402c-9a80-983a8d16fd8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3da040-67a5-49fe-b86d-4216ca62e3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f86e97-9e32-402c-9a80-983a8d16fd88"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A074B7-7847-406A-812B-96707345D477}">
  <ds:schemaRefs>
    <ds:schemaRef ds:uri="http://schemas.microsoft.com/sharepoint/v3/contenttype/forms"/>
  </ds:schemaRefs>
</ds:datastoreItem>
</file>

<file path=customXml/itemProps2.xml><?xml version="1.0" encoding="utf-8"?>
<ds:datastoreItem xmlns:ds="http://schemas.openxmlformats.org/officeDocument/2006/customXml" ds:itemID="{66D94461-8DA8-42C1-92DB-9FC80ECFC294}">
  <ds:schemaRefs>
    <ds:schemaRef ds:uri="http://purl.org/dc/elements/1.1/"/>
    <ds:schemaRef ds:uri="http://purl.org/dc/dcmitype/"/>
    <ds:schemaRef ds:uri="http://schemas.microsoft.com/office/2006/documentManagement/types"/>
    <ds:schemaRef ds:uri="http://www.w3.org/XML/1998/namespace"/>
    <ds:schemaRef ds:uri="http://purl.org/dc/terms/"/>
    <ds:schemaRef ds:uri="http://schemas.microsoft.com/office/infopath/2007/PartnerControls"/>
    <ds:schemaRef ds:uri="09f86e97-9e32-402c-9a80-983a8d16fd88"/>
    <ds:schemaRef ds:uri="http://schemas.openxmlformats.org/package/2006/metadata/core-properties"/>
    <ds:schemaRef ds:uri="9d3da040-67a5-49fe-b86d-4216ca62e315"/>
    <ds:schemaRef ds:uri="http://schemas.microsoft.com/office/2006/metadata/properties"/>
  </ds:schemaRefs>
</ds:datastoreItem>
</file>

<file path=customXml/itemProps3.xml><?xml version="1.0" encoding="utf-8"?>
<ds:datastoreItem xmlns:ds="http://schemas.openxmlformats.org/officeDocument/2006/customXml" ds:itemID="{C0FF486F-3F57-4087-927B-287B85EDED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3da040-67a5-49fe-b86d-4216ca62e315"/>
    <ds:schemaRef ds:uri="09f86e97-9e32-402c-9a80-983a8d16fd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38</TotalTime>
  <Words>521</Words>
  <Application>Microsoft Office PowerPoint</Application>
  <PresentationFormat>Grand écran</PresentationFormat>
  <Paragraphs>120</Paragraphs>
  <Slides>7</Slides>
  <Notes>0</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2</vt:i4>
      </vt:variant>
      <vt:variant>
        <vt:lpstr>Titres des diapositives</vt:lpstr>
      </vt:variant>
      <vt:variant>
        <vt:i4>7</vt:i4>
      </vt:variant>
    </vt:vector>
  </HeadingPairs>
  <TitlesOfParts>
    <vt:vector size="21" baseType="lpstr">
      <vt:lpstr>Arial</vt:lpstr>
      <vt:lpstr>Arial Unicode MS</vt:lpstr>
      <vt:lpstr>Calibri</vt:lpstr>
      <vt:lpstr>Myriad Pro</vt:lpstr>
      <vt:lpstr>Segoe UI</vt:lpstr>
      <vt:lpstr>Verdana</vt:lpstr>
      <vt:lpstr>Wingdings</vt:lpstr>
      <vt:lpstr>Office Theme</vt:lpstr>
      <vt:lpstr>1_Office Theme</vt:lpstr>
      <vt:lpstr>2_Office Theme</vt:lpstr>
      <vt:lpstr>2_Sysco_CF_XSY007</vt:lpstr>
      <vt:lpstr>2_Conception personnalisée</vt:lpstr>
      <vt:lpstr>think-cell Slide</vt:lpstr>
      <vt:lpstr>Diapositive think-cell</vt:lpstr>
      <vt:lpstr>Vos formations sécurité</vt:lpstr>
      <vt:lpstr>Formations sécurité obligatoires</vt:lpstr>
      <vt:lpstr>Vos interlocuteurs</vt:lpstr>
      <vt:lpstr>Vos formations sécurité internes</vt:lpstr>
      <vt:lpstr>Vos formations sécurité internes</vt:lpstr>
      <vt:lpstr>Vos formations sécurité externes</vt:lpstr>
      <vt:lpstr>Management de la sécurité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erome ANDRIEU CASADO</dc:creator>
  <cp:lastModifiedBy>Moreau, Philemon</cp:lastModifiedBy>
  <cp:revision>109</cp:revision>
  <dcterms:created xsi:type="dcterms:W3CDTF">2021-07-20T20:28:51Z</dcterms:created>
  <dcterms:modified xsi:type="dcterms:W3CDTF">2021-12-21T14: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6-25T00:00:00Z</vt:filetime>
  </property>
  <property fmtid="{D5CDD505-2E9C-101B-9397-08002B2CF9AE}" pid="3" name="Creator">
    <vt:lpwstr>Microsoft® PowerPoint® 2016</vt:lpwstr>
  </property>
  <property fmtid="{D5CDD505-2E9C-101B-9397-08002B2CF9AE}" pid="4" name="LastSaved">
    <vt:filetime>2021-07-20T00:00:00Z</vt:filetime>
  </property>
  <property fmtid="{D5CDD505-2E9C-101B-9397-08002B2CF9AE}" pid="5" name="ContentTypeId">
    <vt:lpwstr>0x010100F3BD8F6D63F0424DBE381E25CB7849C0</vt:lpwstr>
  </property>
</Properties>
</file>